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91" r:id="rId6"/>
    <p:sldMasterId id="2147483708" r:id="rId7"/>
  </p:sldMasterIdLst>
  <p:sldIdLst>
    <p:sldId id="2146845380" r:id="rId8"/>
    <p:sldId id="2146845379" r:id="rId9"/>
    <p:sldId id="2146845393" r:id="rId10"/>
    <p:sldId id="2146845394" r:id="rId11"/>
    <p:sldId id="2146845399" r:id="rId12"/>
    <p:sldId id="2146845383" r:id="rId13"/>
    <p:sldId id="2146845391" r:id="rId14"/>
    <p:sldId id="2146845401" r:id="rId15"/>
    <p:sldId id="2146845402" r:id="rId16"/>
    <p:sldId id="2146845460" r:id="rId17"/>
    <p:sldId id="2146845461" r:id="rId18"/>
    <p:sldId id="2146845404" r:id="rId19"/>
    <p:sldId id="2146845411" r:id="rId20"/>
    <p:sldId id="2146845408" r:id="rId21"/>
    <p:sldId id="2146845403" r:id="rId22"/>
    <p:sldId id="2146845405" r:id="rId23"/>
    <p:sldId id="2146845406" r:id="rId24"/>
    <p:sldId id="2146845407" r:id="rId25"/>
    <p:sldId id="2146845409" r:id="rId26"/>
    <p:sldId id="2146845410" r:id="rId27"/>
    <p:sldId id="2146845412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F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95B0D8-2C51-4327-A5B2-1BA6FF0F509C}" v="50" dt="2021-04-29T10:09:11.1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41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26" y="3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viewProps" Target="viewProps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9695B0D8-2C51-4327-A5B2-1BA6FF0F509C}"/>
    <pc:docChg chg="undo custSel addSld delSld modSld sldOrd modMainMaster">
      <pc:chgData name="Gareth Allott" userId="d67bc1e7-5e6e-4540-bcf9-468a02f7a83e" providerId="ADAL" clId="{9695B0D8-2C51-4327-A5B2-1BA6FF0F509C}" dt="2021-04-29T10:10:41.965" v="4531" actId="1035"/>
      <pc:docMkLst>
        <pc:docMk/>
      </pc:docMkLst>
      <pc:sldChg chg="addSp delSp modSp mod">
        <pc:chgData name="Gareth Allott" userId="d67bc1e7-5e6e-4540-bcf9-468a02f7a83e" providerId="ADAL" clId="{9695B0D8-2C51-4327-A5B2-1BA6FF0F509C}" dt="2021-04-08T09:20:20.801" v="29" actId="1036"/>
        <pc:sldMkLst>
          <pc:docMk/>
          <pc:sldMk cId="1032670216" sldId="2146845379"/>
        </pc:sldMkLst>
        <pc:spChg chg="mod">
          <ac:chgData name="Gareth Allott" userId="d67bc1e7-5e6e-4540-bcf9-468a02f7a83e" providerId="ADAL" clId="{9695B0D8-2C51-4327-A5B2-1BA6FF0F509C}" dt="2021-04-08T09:20:20.801" v="29" actId="1036"/>
          <ac:spMkLst>
            <pc:docMk/>
            <pc:sldMk cId="1032670216" sldId="2146845379"/>
            <ac:spMk id="5" creationId="{21930B4E-309D-4A59-94DD-37775FE9B2C3}"/>
          </ac:spMkLst>
        </pc:spChg>
        <pc:spChg chg="mod">
          <ac:chgData name="Gareth Allott" userId="d67bc1e7-5e6e-4540-bcf9-468a02f7a83e" providerId="ADAL" clId="{9695B0D8-2C51-4327-A5B2-1BA6FF0F509C}" dt="2021-04-08T09:20:20.801" v="29" actId="1036"/>
          <ac:spMkLst>
            <pc:docMk/>
            <pc:sldMk cId="1032670216" sldId="2146845379"/>
            <ac:spMk id="6" creationId="{3DBA0410-5795-45EC-893C-8C933CAC3795}"/>
          </ac:spMkLst>
        </pc:spChg>
        <pc:spChg chg="add del mod">
          <ac:chgData name="Gareth Allott" userId="d67bc1e7-5e6e-4540-bcf9-468a02f7a83e" providerId="ADAL" clId="{9695B0D8-2C51-4327-A5B2-1BA6FF0F509C}" dt="2021-04-08T09:20:19.530" v="27"/>
          <ac:spMkLst>
            <pc:docMk/>
            <pc:sldMk cId="1032670216" sldId="2146845379"/>
            <ac:spMk id="10" creationId="{A04C7C47-42E9-4F03-9A50-D0CA1B7108C7}"/>
          </ac:spMkLst>
        </pc:spChg>
        <pc:spChg chg="mod">
          <ac:chgData name="Gareth Allott" userId="d67bc1e7-5e6e-4540-bcf9-468a02f7a83e" providerId="ADAL" clId="{9695B0D8-2C51-4327-A5B2-1BA6FF0F509C}" dt="2021-04-08T09:20:20.801" v="29" actId="1036"/>
          <ac:spMkLst>
            <pc:docMk/>
            <pc:sldMk cId="1032670216" sldId="2146845379"/>
            <ac:spMk id="12" creationId="{0DF71DE9-3A68-4EA1-8221-5A0F172EBE5A}"/>
          </ac:spMkLst>
        </pc:spChg>
        <pc:spChg chg="mod">
          <ac:chgData name="Gareth Allott" userId="d67bc1e7-5e6e-4540-bcf9-468a02f7a83e" providerId="ADAL" clId="{9695B0D8-2C51-4327-A5B2-1BA6FF0F509C}" dt="2021-04-08T09:20:20.801" v="29" actId="1036"/>
          <ac:spMkLst>
            <pc:docMk/>
            <pc:sldMk cId="1032670216" sldId="2146845379"/>
            <ac:spMk id="13" creationId="{6B5CFAFF-68AD-43DB-9B0B-B50E8CC84109}"/>
          </ac:spMkLst>
        </pc:spChg>
        <pc:picChg chg="mod">
          <ac:chgData name="Gareth Allott" userId="d67bc1e7-5e6e-4540-bcf9-468a02f7a83e" providerId="ADAL" clId="{9695B0D8-2C51-4327-A5B2-1BA6FF0F509C}" dt="2021-04-08T09:20:20.801" v="29" actId="1036"/>
          <ac:picMkLst>
            <pc:docMk/>
            <pc:sldMk cId="1032670216" sldId="2146845379"/>
            <ac:picMk id="9" creationId="{B62A6A67-3FA7-40A1-A17F-FC2F65CCC18C}"/>
          </ac:picMkLst>
        </pc:picChg>
        <pc:picChg chg="mod">
          <ac:chgData name="Gareth Allott" userId="d67bc1e7-5e6e-4540-bcf9-468a02f7a83e" providerId="ADAL" clId="{9695B0D8-2C51-4327-A5B2-1BA6FF0F509C}" dt="2021-04-08T09:20:20.801" v="29" actId="1036"/>
          <ac:picMkLst>
            <pc:docMk/>
            <pc:sldMk cId="1032670216" sldId="2146845379"/>
            <ac:picMk id="17" creationId="{1DB6095E-0CDC-4CC6-82DD-48FE40C95557}"/>
          </ac:picMkLst>
        </pc:picChg>
      </pc:sldChg>
      <pc:sldChg chg="modSp mod">
        <pc:chgData name="Gareth Allott" userId="d67bc1e7-5e6e-4540-bcf9-468a02f7a83e" providerId="ADAL" clId="{9695B0D8-2C51-4327-A5B2-1BA6FF0F509C}" dt="2021-04-08T09:27:13.109" v="765" actId="1035"/>
        <pc:sldMkLst>
          <pc:docMk/>
          <pc:sldMk cId="636563377" sldId="2146845380"/>
        </pc:sldMkLst>
        <pc:cxnChg chg="mod">
          <ac:chgData name="Gareth Allott" userId="d67bc1e7-5e6e-4540-bcf9-468a02f7a83e" providerId="ADAL" clId="{9695B0D8-2C51-4327-A5B2-1BA6FF0F509C}" dt="2021-04-08T09:27:13.109" v="765" actId="1035"/>
          <ac:cxnSpMkLst>
            <pc:docMk/>
            <pc:sldMk cId="636563377" sldId="2146845380"/>
            <ac:cxnSpMk id="14" creationId="{61992EF8-3C27-42E1-B089-917F5A790DD1}"/>
          </ac:cxnSpMkLst>
        </pc:cxnChg>
      </pc:sldChg>
      <pc:sldChg chg="modSp mod">
        <pc:chgData name="Gareth Allott" userId="d67bc1e7-5e6e-4540-bcf9-468a02f7a83e" providerId="ADAL" clId="{9695B0D8-2C51-4327-A5B2-1BA6FF0F509C}" dt="2021-04-08T09:37:05.479" v="2006" actId="404"/>
        <pc:sldMkLst>
          <pc:docMk/>
          <pc:sldMk cId="3366910351" sldId="2146845383"/>
        </pc:sldMkLst>
        <pc:spChg chg="mod">
          <ac:chgData name="Gareth Allott" userId="d67bc1e7-5e6e-4540-bcf9-468a02f7a83e" providerId="ADAL" clId="{9695B0D8-2C51-4327-A5B2-1BA6FF0F509C}" dt="2021-04-08T09:37:05.479" v="2006" actId="404"/>
          <ac:spMkLst>
            <pc:docMk/>
            <pc:sldMk cId="3366910351" sldId="2146845383"/>
            <ac:spMk id="2" creationId="{A85AF8BD-E457-4D19-9F7A-A39E71231F1A}"/>
          </ac:spMkLst>
        </pc:spChg>
      </pc:sldChg>
      <pc:sldChg chg="addSp delSp modSp mod">
        <pc:chgData name="Gareth Allott" userId="d67bc1e7-5e6e-4540-bcf9-468a02f7a83e" providerId="ADAL" clId="{9695B0D8-2C51-4327-A5B2-1BA6FF0F509C}" dt="2021-04-08T10:08:02.301" v="3885" actId="14100"/>
        <pc:sldMkLst>
          <pc:docMk/>
          <pc:sldMk cId="1495903228" sldId="2146845391"/>
        </pc:sldMkLst>
        <pc:spChg chg="add mod">
          <ac:chgData name="Gareth Allott" userId="d67bc1e7-5e6e-4540-bcf9-468a02f7a83e" providerId="ADAL" clId="{9695B0D8-2C51-4327-A5B2-1BA6FF0F509C}" dt="2021-04-08T09:39:43.025" v="2383"/>
          <ac:spMkLst>
            <pc:docMk/>
            <pc:sldMk cId="1495903228" sldId="2146845391"/>
            <ac:spMk id="3" creationId="{3D02AF15-6837-44AA-BC76-3C2B5E68696D}"/>
          </ac:spMkLst>
        </pc:spChg>
        <pc:spChg chg="mod">
          <ac:chgData name="Gareth Allott" userId="d67bc1e7-5e6e-4540-bcf9-468a02f7a83e" providerId="ADAL" clId="{9695B0D8-2C51-4327-A5B2-1BA6FF0F509C}" dt="2021-04-08T10:08:02.301" v="3885" actId="14100"/>
          <ac:spMkLst>
            <pc:docMk/>
            <pc:sldMk cId="1495903228" sldId="2146845391"/>
            <ac:spMk id="5" creationId="{F0003C2E-EEB6-4539-8368-C5746ABF8A39}"/>
          </ac:spMkLst>
        </pc:spChg>
        <pc:spChg chg="del">
          <ac:chgData name="Gareth Allott" userId="d67bc1e7-5e6e-4540-bcf9-468a02f7a83e" providerId="ADAL" clId="{9695B0D8-2C51-4327-A5B2-1BA6FF0F509C}" dt="2021-04-08T09:37:14.919" v="2007" actId="478"/>
          <ac:spMkLst>
            <pc:docMk/>
            <pc:sldMk cId="1495903228" sldId="2146845391"/>
            <ac:spMk id="6" creationId="{53B308F3-1948-4AFB-A493-9A6F9776EBAC}"/>
          </ac:spMkLst>
        </pc:spChg>
        <pc:picChg chg="mod">
          <ac:chgData name="Gareth Allott" userId="d67bc1e7-5e6e-4540-bcf9-468a02f7a83e" providerId="ADAL" clId="{9695B0D8-2C51-4327-A5B2-1BA6FF0F509C}" dt="2021-04-08T09:37:16.978" v="2008" actId="1076"/>
          <ac:picMkLst>
            <pc:docMk/>
            <pc:sldMk cId="1495903228" sldId="2146845391"/>
            <ac:picMk id="4" creationId="{15AC11EE-867A-49BD-9D59-4ED21EA9BCE0}"/>
          </ac:picMkLst>
        </pc:picChg>
      </pc:sldChg>
      <pc:sldChg chg="addSp delSp modSp mod">
        <pc:chgData name="Gareth Allott" userId="d67bc1e7-5e6e-4540-bcf9-468a02f7a83e" providerId="ADAL" clId="{9695B0D8-2C51-4327-A5B2-1BA6FF0F509C}" dt="2021-04-29T10:10:41.965" v="4531" actId="1035"/>
        <pc:sldMkLst>
          <pc:docMk/>
          <pc:sldMk cId="3508088973" sldId="2146845393"/>
        </pc:sldMkLst>
        <pc:spChg chg="mod">
          <ac:chgData name="Gareth Allott" userId="d67bc1e7-5e6e-4540-bcf9-468a02f7a83e" providerId="ADAL" clId="{9695B0D8-2C51-4327-A5B2-1BA6FF0F509C}" dt="2021-04-08T09:27:31.393" v="812" actId="404"/>
          <ac:spMkLst>
            <pc:docMk/>
            <pc:sldMk cId="3508088973" sldId="2146845393"/>
            <ac:spMk id="2" creationId="{A85AF8BD-E457-4D19-9F7A-A39E71231F1A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4" creationId="{82707E7C-177A-4AEA-A02F-64F624E948BE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8" creationId="{3499EDEC-F115-4E7B-962B-B12E37D31DEC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10" creationId="{F8E1CDB2-8228-4FAD-844C-C3ED5497B4E5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13" creationId="{77B88383-BA1B-4806-81D4-C51B87A738EA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14" creationId="{50632460-E99F-4177-B7B0-63FDEAC2FF60}"/>
          </ac:spMkLst>
        </pc:spChg>
        <pc:spChg chg="mod">
          <ac:chgData name="Gareth Allott" userId="d67bc1e7-5e6e-4540-bcf9-468a02f7a83e" providerId="ADAL" clId="{9695B0D8-2C51-4327-A5B2-1BA6FF0F509C}" dt="2021-04-29T10:08:17.147" v="4399" actId="108"/>
          <ac:spMkLst>
            <pc:docMk/>
            <pc:sldMk cId="3508088973" sldId="2146845393"/>
            <ac:spMk id="15" creationId="{3F0E9B90-8482-4832-A223-ABE968F69EF4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16" creationId="{BF2AE311-2694-4631-9357-21A55CA02DC6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17" creationId="{BBD399D9-D8DB-49FD-85BC-9861DC6E6B8D}"/>
          </ac:spMkLst>
        </pc:spChg>
        <pc:spChg chg="mod">
          <ac:chgData name="Gareth Allott" userId="d67bc1e7-5e6e-4540-bcf9-468a02f7a83e" providerId="ADAL" clId="{9695B0D8-2C51-4327-A5B2-1BA6FF0F509C}" dt="2021-04-29T10:09:51.811" v="4491" actId="20577"/>
          <ac:spMkLst>
            <pc:docMk/>
            <pc:sldMk cId="3508088973" sldId="2146845393"/>
            <ac:spMk id="18" creationId="{CB53D74E-C77E-4007-93C7-53499908015F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19" creationId="{C7040E7A-4020-435E-B272-2A8F91E4AB4B}"/>
          </ac:spMkLst>
        </pc:spChg>
        <pc:spChg chg="mod">
          <ac:chgData name="Gareth Allott" userId="d67bc1e7-5e6e-4540-bcf9-468a02f7a83e" providerId="ADAL" clId="{9695B0D8-2C51-4327-A5B2-1BA6FF0F509C}" dt="2021-04-29T10:10:37.894" v="4530" actId="1035"/>
          <ac:spMkLst>
            <pc:docMk/>
            <pc:sldMk cId="3508088973" sldId="2146845393"/>
            <ac:spMk id="20" creationId="{9F3940F4-FDE3-4EE9-BBED-931A820F52C9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21" creationId="{F8200B90-BC14-4605-914D-566BED184C1C}"/>
          </ac:spMkLst>
        </pc:spChg>
        <pc:spChg chg="mod">
          <ac:chgData name="Gareth Allott" userId="d67bc1e7-5e6e-4540-bcf9-468a02f7a83e" providerId="ADAL" clId="{9695B0D8-2C51-4327-A5B2-1BA6FF0F509C}" dt="2021-04-29T10:08:11.584" v="4396" actId="1038"/>
          <ac:spMkLst>
            <pc:docMk/>
            <pc:sldMk cId="3508088973" sldId="2146845393"/>
            <ac:spMk id="22" creationId="{36EDB9EB-0687-4E30-9543-53F5282D4F84}"/>
          </ac:spMkLst>
        </pc:spChg>
        <pc:spChg chg="add del mod">
          <ac:chgData name="Gareth Allott" userId="d67bc1e7-5e6e-4540-bcf9-468a02f7a83e" providerId="ADAL" clId="{9695B0D8-2C51-4327-A5B2-1BA6FF0F509C}" dt="2021-04-08T09:20:30.800" v="31"/>
          <ac:spMkLst>
            <pc:docMk/>
            <pc:sldMk cId="3508088973" sldId="2146845393"/>
            <ac:spMk id="24" creationId="{B59C53EB-84F3-4B78-A14A-C0D7FC16A8C0}"/>
          </ac:spMkLst>
        </pc:spChg>
        <pc:spChg chg="add mod">
          <ac:chgData name="Gareth Allott" userId="d67bc1e7-5e6e-4540-bcf9-468a02f7a83e" providerId="ADAL" clId="{9695B0D8-2C51-4327-A5B2-1BA6FF0F509C}" dt="2021-04-29T10:10:41.965" v="4531" actId="1035"/>
          <ac:spMkLst>
            <pc:docMk/>
            <pc:sldMk cId="3508088973" sldId="2146845393"/>
            <ac:spMk id="24" creationId="{DA0EE615-0D7E-4F30-A3BE-41362A4B3E9B}"/>
          </ac:spMkLst>
        </pc:spChg>
        <pc:cxnChg chg="mod">
          <ac:chgData name="Gareth Allott" userId="d67bc1e7-5e6e-4540-bcf9-468a02f7a83e" providerId="ADAL" clId="{9695B0D8-2C51-4327-A5B2-1BA6FF0F509C}" dt="2021-04-29T10:08:11.584" v="4396" actId="1038"/>
          <ac:cxnSpMkLst>
            <pc:docMk/>
            <pc:sldMk cId="3508088973" sldId="2146845393"/>
            <ac:cxnSpMk id="23" creationId="{9A33630B-C344-4D38-BB19-D3405F16374D}"/>
          </ac:cxnSpMkLst>
        </pc:cxnChg>
      </pc:sldChg>
      <pc:sldChg chg="addSp delSp modSp add mod">
        <pc:chgData name="Gareth Allott" userId="d67bc1e7-5e6e-4540-bcf9-468a02f7a83e" providerId="ADAL" clId="{9695B0D8-2C51-4327-A5B2-1BA6FF0F509C}" dt="2021-04-08T09:26:55.811" v="749" actId="207"/>
        <pc:sldMkLst>
          <pc:docMk/>
          <pc:sldMk cId="4252760966" sldId="2146845394"/>
        </pc:sldMkLst>
        <pc:spChg chg="mod">
          <ac:chgData name="Gareth Allott" userId="d67bc1e7-5e6e-4540-bcf9-468a02f7a83e" providerId="ADAL" clId="{9695B0D8-2C51-4327-A5B2-1BA6FF0F509C}" dt="2021-04-08T09:22:38.241" v="272" actId="404"/>
          <ac:spMkLst>
            <pc:docMk/>
            <pc:sldMk cId="4252760966" sldId="2146845394"/>
            <ac:spMk id="2" creationId="{A85AF8BD-E457-4D19-9F7A-A39E71231F1A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4" creationId="{82707E7C-177A-4AEA-A02F-64F624E948BE}"/>
          </ac:spMkLst>
        </pc:spChg>
        <pc:spChg chg="add mod">
          <ac:chgData name="Gareth Allott" userId="d67bc1e7-5e6e-4540-bcf9-468a02f7a83e" providerId="ADAL" clId="{9695B0D8-2C51-4327-A5B2-1BA6FF0F509C}" dt="2021-04-08T09:25:25.451" v="586" actId="1076"/>
          <ac:spMkLst>
            <pc:docMk/>
            <pc:sldMk cId="4252760966" sldId="2146845394"/>
            <ac:spMk id="5" creationId="{E9797276-37AA-4357-A03B-E2029B163D81}"/>
          </ac:spMkLst>
        </pc:spChg>
        <pc:spChg chg="add mod">
          <ac:chgData name="Gareth Allott" userId="d67bc1e7-5e6e-4540-bcf9-468a02f7a83e" providerId="ADAL" clId="{9695B0D8-2C51-4327-A5B2-1BA6FF0F509C}" dt="2021-04-08T09:25:25.451" v="586" actId="1076"/>
          <ac:spMkLst>
            <pc:docMk/>
            <pc:sldMk cId="4252760966" sldId="2146845394"/>
            <ac:spMk id="6" creationId="{E9A6B63D-00DA-4BC5-A5D2-A4AC8DB4D0C9}"/>
          </ac:spMkLst>
        </pc:spChg>
        <pc:spChg chg="add mod">
          <ac:chgData name="Gareth Allott" userId="d67bc1e7-5e6e-4540-bcf9-468a02f7a83e" providerId="ADAL" clId="{9695B0D8-2C51-4327-A5B2-1BA6FF0F509C}" dt="2021-04-08T09:26:23.946" v="709" actId="20577"/>
          <ac:spMkLst>
            <pc:docMk/>
            <pc:sldMk cId="4252760966" sldId="2146845394"/>
            <ac:spMk id="7" creationId="{4FF7A903-FC89-4D62-A775-1A2CAB1A8C28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8" creationId="{3499EDEC-F115-4E7B-962B-B12E37D31DEC}"/>
          </ac:spMkLst>
        </pc:spChg>
        <pc:spChg chg="add mod ord">
          <ac:chgData name="Gareth Allott" userId="d67bc1e7-5e6e-4540-bcf9-468a02f7a83e" providerId="ADAL" clId="{9695B0D8-2C51-4327-A5B2-1BA6FF0F509C}" dt="2021-04-08T09:26:05.414" v="638" actId="1035"/>
          <ac:spMkLst>
            <pc:docMk/>
            <pc:sldMk cId="4252760966" sldId="2146845394"/>
            <ac:spMk id="9" creationId="{9C433715-4715-4CF4-8D69-2AFCA5B1772D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0" creationId="{F8E1CDB2-8228-4FAD-844C-C3ED5497B4E5}"/>
          </ac:spMkLst>
        </pc:spChg>
        <pc:spChg chg="add mod">
          <ac:chgData name="Gareth Allott" userId="d67bc1e7-5e6e-4540-bcf9-468a02f7a83e" providerId="ADAL" clId="{9695B0D8-2C51-4327-A5B2-1BA6FF0F509C}" dt="2021-04-08T09:26:55.811" v="749" actId="207"/>
          <ac:spMkLst>
            <pc:docMk/>
            <pc:sldMk cId="4252760966" sldId="2146845394"/>
            <ac:spMk id="11" creationId="{B1662681-4372-4B96-B532-3F6D6E166CDC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3" creationId="{77B88383-BA1B-4806-81D4-C51B87A738EA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4" creationId="{50632460-E99F-4177-B7B0-63FDEAC2FF60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5" creationId="{3F0E9B90-8482-4832-A223-ABE968F69EF4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6" creationId="{BF2AE311-2694-4631-9357-21A55CA02DC6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7" creationId="{BBD399D9-D8DB-49FD-85BC-9861DC6E6B8D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8" creationId="{CB53D74E-C77E-4007-93C7-53499908015F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19" creationId="{C7040E7A-4020-435E-B272-2A8F91E4AB4B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20" creationId="{9F3940F4-FDE3-4EE9-BBED-931A820F52C9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21" creationId="{F8200B90-BC14-4605-914D-566BED184C1C}"/>
          </ac:spMkLst>
        </pc:spChg>
        <pc:spChg chg="del">
          <ac:chgData name="Gareth Allott" userId="d67bc1e7-5e6e-4540-bcf9-468a02f7a83e" providerId="ADAL" clId="{9695B0D8-2C51-4327-A5B2-1BA6FF0F509C}" dt="2021-04-08T09:20:54.462" v="136" actId="478"/>
          <ac:spMkLst>
            <pc:docMk/>
            <pc:sldMk cId="4252760966" sldId="2146845394"/>
            <ac:spMk id="22" creationId="{36EDB9EB-0687-4E30-9543-53F5282D4F84}"/>
          </ac:spMkLst>
        </pc:spChg>
        <pc:picChg chg="add mod">
          <ac:chgData name="Gareth Allott" userId="d67bc1e7-5e6e-4540-bcf9-468a02f7a83e" providerId="ADAL" clId="{9695B0D8-2C51-4327-A5B2-1BA6FF0F509C}" dt="2021-04-08T09:25:25.451" v="586" actId="1076"/>
          <ac:picMkLst>
            <pc:docMk/>
            <pc:sldMk cId="4252760966" sldId="2146845394"/>
            <ac:picMk id="3" creationId="{5F423A60-6B9B-4D36-8733-9C8E05E95D25}"/>
          </ac:picMkLst>
        </pc:picChg>
        <pc:cxnChg chg="del">
          <ac:chgData name="Gareth Allott" userId="d67bc1e7-5e6e-4540-bcf9-468a02f7a83e" providerId="ADAL" clId="{9695B0D8-2C51-4327-A5B2-1BA6FF0F509C}" dt="2021-04-08T09:20:54.462" v="136" actId="478"/>
          <ac:cxnSpMkLst>
            <pc:docMk/>
            <pc:sldMk cId="4252760966" sldId="2146845394"/>
            <ac:cxnSpMk id="23" creationId="{9A33630B-C344-4D38-BB19-D3405F16374D}"/>
          </ac:cxnSpMkLst>
        </pc:cxnChg>
      </pc:sldChg>
      <pc:sldChg chg="delSp del mod">
        <pc:chgData name="Gareth Allott" userId="d67bc1e7-5e6e-4540-bcf9-468a02f7a83e" providerId="ADAL" clId="{9695B0D8-2C51-4327-A5B2-1BA6FF0F509C}" dt="2021-04-08T09:36:45.616" v="1915" actId="47"/>
        <pc:sldMkLst>
          <pc:docMk/>
          <pc:sldMk cId="3353293663" sldId="2146845398"/>
        </pc:sldMkLst>
        <pc:spChg chg="del">
          <ac:chgData name="Gareth Allott" userId="d67bc1e7-5e6e-4540-bcf9-468a02f7a83e" providerId="ADAL" clId="{9695B0D8-2C51-4327-A5B2-1BA6FF0F509C}" dt="2021-04-08T09:21:05.407" v="137" actId="478"/>
          <ac:spMkLst>
            <pc:docMk/>
            <pc:sldMk cId="3353293663" sldId="2146845398"/>
            <ac:spMk id="21" creationId="{D42370E2-98BB-4931-BF1C-AD27EED6B538}"/>
          </ac:spMkLst>
        </pc:spChg>
      </pc:sldChg>
      <pc:sldChg chg="addSp delSp modSp add mod">
        <pc:chgData name="Gareth Allott" userId="d67bc1e7-5e6e-4540-bcf9-468a02f7a83e" providerId="ADAL" clId="{9695B0D8-2C51-4327-A5B2-1BA6FF0F509C}" dt="2021-04-08T09:30:59.449" v="1096" actId="1037"/>
        <pc:sldMkLst>
          <pc:docMk/>
          <pc:sldMk cId="3768167187" sldId="2146845399"/>
        </pc:sldMkLst>
        <pc:spChg chg="mod">
          <ac:chgData name="Gareth Allott" userId="d67bc1e7-5e6e-4540-bcf9-468a02f7a83e" providerId="ADAL" clId="{9695B0D8-2C51-4327-A5B2-1BA6FF0F509C}" dt="2021-04-08T09:28:35.913" v="1001" actId="20577"/>
          <ac:spMkLst>
            <pc:docMk/>
            <pc:sldMk cId="3768167187" sldId="2146845399"/>
            <ac:spMk id="2" creationId="{A85AF8BD-E457-4D19-9F7A-A39E71231F1A}"/>
          </ac:spMkLst>
        </pc:spChg>
        <pc:spChg chg="del">
          <ac:chgData name="Gareth Allott" userId="d67bc1e7-5e6e-4540-bcf9-468a02f7a83e" providerId="ADAL" clId="{9695B0D8-2C51-4327-A5B2-1BA6FF0F509C}" dt="2021-04-08T09:28:38.664" v="1002" actId="478"/>
          <ac:spMkLst>
            <pc:docMk/>
            <pc:sldMk cId="3768167187" sldId="2146845399"/>
            <ac:spMk id="5" creationId="{E9797276-37AA-4357-A03B-E2029B163D81}"/>
          </ac:spMkLst>
        </pc:spChg>
        <pc:spChg chg="del">
          <ac:chgData name="Gareth Allott" userId="d67bc1e7-5e6e-4540-bcf9-468a02f7a83e" providerId="ADAL" clId="{9695B0D8-2C51-4327-A5B2-1BA6FF0F509C}" dt="2021-04-08T09:28:38.664" v="1002" actId="478"/>
          <ac:spMkLst>
            <pc:docMk/>
            <pc:sldMk cId="3768167187" sldId="2146845399"/>
            <ac:spMk id="6" creationId="{E9A6B63D-00DA-4BC5-A5D2-A4AC8DB4D0C9}"/>
          </ac:spMkLst>
        </pc:spChg>
        <pc:spChg chg="del">
          <ac:chgData name="Gareth Allott" userId="d67bc1e7-5e6e-4540-bcf9-468a02f7a83e" providerId="ADAL" clId="{9695B0D8-2C51-4327-A5B2-1BA6FF0F509C}" dt="2021-04-08T09:28:38.664" v="1002" actId="478"/>
          <ac:spMkLst>
            <pc:docMk/>
            <pc:sldMk cId="3768167187" sldId="2146845399"/>
            <ac:spMk id="7" creationId="{4FF7A903-FC89-4D62-A775-1A2CAB1A8C28}"/>
          </ac:spMkLst>
        </pc:spChg>
        <pc:spChg chg="add mod">
          <ac:chgData name="Gareth Allott" userId="d67bc1e7-5e6e-4540-bcf9-468a02f7a83e" providerId="ADAL" clId="{9695B0D8-2C51-4327-A5B2-1BA6FF0F509C}" dt="2021-04-08T09:30:27.096" v="1082" actId="207"/>
          <ac:spMkLst>
            <pc:docMk/>
            <pc:sldMk cId="3768167187" sldId="2146845399"/>
            <ac:spMk id="8" creationId="{CD8D259F-E2B5-4AC3-B269-20797A20E393}"/>
          </ac:spMkLst>
        </pc:spChg>
        <pc:spChg chg="del">
          <ac:chgData name="Gareth Allott" userId="d67bc1e7-5e6e-4540-bcf9-468a02f7a83e" providerId="ADAL" clId="{9695B0D8-2C51-4327-A5B2-1BA6FF0F509C}" dt="2021-04-08T09:28:38.664" v="1002" actId="478"/>
          <ac:spMkLst>
            <pc:docMk/>
            <pc:sldMk cId="3768167187" sldId="2146845399"/>
            <ac:spMk id="9" creationId="{9C433715-4715-4CF4-8D69-2AFCA5B1772D}"/>
          </ac:spMkLst>
        </pc:spChg>
        <pc:spChg chg="del">
          <ac:chgData name="Gareth Allott" userId="d67bc1e7-5e6e-4540-bcf9-468a02f7a83e" providerId="ADAL" clId="{9695B0D8-2C51-4327-A5B2-1BA6FF0F509C}" dt="2021-04-08T09:28:38.664" v="1002" actId="478"/>
          <ac:spMkLst>
            <pc:docMk/>
            <pc:sldMk cId="3768167187" sldId="2146845399"/>
            <ac:spMk id="11" creationId="{B1662681-4372-4B96-B532-3F6D6E166CDC}"/>
          </ac:spMkLst>
        </pc:spChg>
        <pc:spChg chg="add mod">
          <ac:chgData name="Gareth Allott" userId="d67bc1e7-5e6e-4540-bcf9-468a02f7a83e" providerId="ADAL" clId="{9695B0D8-2C51-4327-A5B2-1BA6FF0F509C}" dt="2021-04-08T09:30:27.096" v="1082" actId="207"/>
          <ac:spMkLst>
            <pc:docMk/>
            <pc:sldMk cId="3768167187" sldId="2146845399"/>
            <ac:spMk id="12" creationId="{CDD9434B-0E73-4056-AC63-04BEA55C2103}"/>
          </ac:spMkLst>
        </pc:spChg>
        <pc:spChg chg="add mod ord">
          <ac:chgData name="Gareth Allott" userId="d67bc1e7-5e6e-4540-bcf9-468a02f7a83e" providerId="ADAL" clId="{9695B0D8-2C51-4327-A5B2-1BA6FF0F509C}" dt="2021-04-08T09:30:48.861" v="1090" actId="167"/>
          <ac:spMkLst>
            <pc:docMk/>
            <pc:sldMk cId="3768167187" sldId="2146845399"/>
            <ac:spMk id="13" creationId="{BDBA3697-50A2-4A62-9376-1299CB8DC0E0}"/>
          </ac:spMkLst>
        </pc:spChg>
        <pc:picChg chg="del">
          <ac:chgData name="Gareth Allott" userId="d67bc1e7-5e6e-4540-bcf9-468a02f7a83e" providerId="ADAL" clId="{9695B0D8-2C51-4327-A5B2-1BA6FF0F509C}" dt="2021-04-08T09:28:38.664" v="1002" actId="478"/>
          <ac:picMkLst>
            <pc:docMk/>
            <pc:sldMk cId="3768167187" sldId="2146845399"/>
            <ac:picMk id="3" creationId="{5F423A60-6B9B-4D36-8733-9C8E05E95D25}"/>
          </ac:picMkLst>
        </pc:picChg>
        <pc:picChg chg="add mod">
          <ac:chgData name="Gareth Allott" userId="d67bc1e7-5e6e-4540-bcf9-468a02f7a83e" providerId="ADAL" clId="{9695B0D8-2C51-4327-A5B2-1BA6FF0F509C}" dt="2021-04-08T09:30:57.690" v="1093" actId="1038"/>
          <ac:picMkLst>
            <pc:docMk/>
            <pc:sldMk cId="3768167187" sldId="2146845399"/>
            <ac:picMk id="4" creationId="{06505B6D-E2FB-4DC0-B53F-E102D15A4249}"/>
          </ac:picMkLst>
        </pc:picChg>
        <pc:picChg chg="add mod modCrop">
          <ac:chgData name="Gareth Allott" userId="d67bc1e7-5e6e-4540-bcf9-468a02f7a83e" providerId="ADAL" clId="{9695B0D8-2C51-4327-A5B2-1BA6FF0F509C}" dt="2021-04-08T09:30:59.449" v="1096" actId="1037"/>
          <ac:picMkLst>
            <pc:docMk/>
            <pc:sldMk cId="3768167187" sldId="2146845399"/>
            <ac:picMk id="10" creationId="{AFA7569C-C39F-437E-B2C9-4BA9F39664DC}"/>
          </ac:picMkLst>
        </pc:picChg>
      </pc:sldChg>
      <pc:sldChg chg="addSp delSp modSp add del mod">
        <pc:chgData name="Gareth Allott" userId="d67bc1e7-5e6e-4540-bcf9-468a02f7a83e" providerId="ADAL" clId="{9695B0D8-2C51-4327-A5B2-1BA6FF0F509C}" dt="2021-04-22T14:28:27.161" v="4332" actId="47"/>
        <pc:sldMkLst>
          <pc:docMk/>
          <pc:sldMk cId="491894383" sldId="2146845400"/>
        </pc:sldMkLst>
        <pc:spChg chg="mod">
          <ac:chgData name="Gareth Allott" userId="d67bc1e7-5e6e-4540-bcf9-468a02f7a83e" providerId="ADAL" clId="{9695B0D8-2C51-4327-A5B2-1BA6FF0F509C}" dt="2021-04-08T09:31:33.292" v="1159" actId="20577"/>
          <ac:spMkLst>
            <pc:docMk/>
            <pc:sldMk cId="491894383" sldId="2146845400"/>
            <ac:spMk id="2" creationId="{A85AF8BD-E457-4D19-9F7A-A39E71231F1A}"/>
          </ac:spMkLst>
        </pc:spChg>
        <pc:spChg chg="add mod">
          <ac:chgData name="Gareth Allott" userId="d67bc1e7-5e6e-4540-bcf9-468a02f7a83e" providerId="ADAL" clId="{9695B0D8-2C51-4327-A5B2-1BA6FF0F509C}" dt="2021-04-08T09:35:52.025" v="1914" actId="1035"/>
          <ac:spMkLst>
            <pc:docMk/>
            <pc:sldMk cId="491894383" sldId="2146845400"/>
            <ac:spMk id="3" creationId="{1098C29B-E9FB-4F70-B5C9-2CAC306E3C76}"/>
          </ac:spMkLst>
        </pc:spChg>
        <pc:spChg chg="add mod">
          <ac:chgData name="Gareth Allott" userId="d67bc1e7-5e6e-4540-bcf9-468a02f7a83e" providerId="ADAL" clId="{9695B0D8-2C51-4327-A5B2-1BA6FF0F509C}" dt="2021-04-08T10:07:52.177" v="3884" actId="20577"/>
          <ac:spMkLst>
            <pc:docMk/>
            <pc:sldMk cId="491894383" sldId="2146845400"/>
            <ac:spMk id="5" creationId="{B971F9E0-CC3B-4C73-955E-CA9CA943CD2B}"/>
          </ac:spMkLst>
        </pc:spChg>
        <pc:spChg chg="del">
          <ac:chgData name="Gareth Allott" userId="d67bc1e7-5e6e-4540-bcf9-468a02f7a83e" providerId="ADAL" clId="{9695B0D8-2C51-4327-A5B2-1BA6FF0F509C}" dt="2021-04-08T09:31:36.298" v="1160" actId="478"/>
          <ac:spMkLst>
            <pc:docMk/>
            <pc:sldMk cId="491894383" sldId="2146845400"/>
            <ac:spMk id="8" creationId="{CD8D259F-E2B5-4AC3-B269-20797A20E393}"/>
          </ac:spMkLst>
        </pc:spChg>
        <pc:spChg chg="add mod ord">
          <ac:chgData name="Gareth Allott" userId="d67bc1e7-5e6e-4540-bcf9-468a02f7a83e" providerId="ADAL" clId="{9695B0D8-2C51-4327-A5B2-1BA6FF0F509C}" dt="2021-04-08T09:35:38.146" v="1903" actId="1035"/>
          <ac:spMkLst>
            <pc:docMk/>
            <pc:sldMk cId="491894383" sldId="2146845400"/>
            <ac:spMk id="9" creationId="{D063CD28-8761-4C9F-A3D9-5A14927D575F}"/>
          </ac:spMkLst>
        </pc:spChg>
        <pc:spChg chg="del">
          <ac:chgData name="Gareth Allott" userId="d67bc1e7-5e6e-4540-bcf9-468a02f7a83e" providerId="ADAL" clId="{9695B0D8-2C51-4327-A5B2-1BA6FF0F509C}" dt="2021-04-08T09:31:36.298" v="1160" actId="478"/>
          <ac:spMkLst>
            <pc:docMk/>
            <pc:sldMk cId="491894383" sldId="2146845400"/>
            <ac:spMk id="12" creationId="{CDD9434B-0E73-4056-AC63-04BEA55C2103}"/>
          </ac:spMkLst>
        </pc:spChg>
        <pc:spChg chg="del">
          <ac:chgData name="Gareth Allott" userId="d67bc1e7-5e6e-4540-bcf9-468a02f7a83e" providerId="ADAL" clId="{9695B0D8-2C51-4327-A5B2-1BA6FF0F509C}" dt="2021-04-08T09:31:36.298" v="1160" actId="478"/>
          <ac:spMkLst>
            <pc:docMk/>
            <pc:sldMk cId="491894383" sldId="2146845400"/>
            <ac:spMk id="13" creationId="{BDBA3697-50A2-4A62-9376-1299CB8DC0E0}"/>
          </ac:spMkLst>
        </pc:spChg>
        <pc:picChg chg="del">
          <ac:chgData name="Gareth Allott" userId="d67bc1e7-5e6e-4540-bcf9-468a02f7a83e" providerId="ADAL" clId="{9695B0D8-2C51-4327-A5B2-1BA6FF0F509C}" dt="2021-04-08T09:31:36.298" v="1160" actId="478"/>
          <ac:picMkLst>
            <pc:docMk/>
            <pc:sldMk cId="491894383" sldId="2146845400"/>
            <ac:picMk id="4" creationId="{06505B6D-E2FB-4DC0-B53F-E102D15A4249}"/>
          </ac:picMkLst>
        </pc:picChg>
        <pc:picChg chg="del">
          <ac:chgData name="Gareth Allott" userId="d67bc1e7-5e6e-4540-bcf9-468a02f7a83e" providerId="ADAL" clId="{9695B0D8-2C51-4327-A5B2-1BA6FF0F509C}" dt="2021-04-08T09:31:36.298" v="1160" actId="478"/>
          <ac:picMkLst>
            <pc:docMk/>
            <pc:sldMk cId="491894383" sldId="2146845400"/>
            <ac:picMk id="10" creationId="{AFA7569C-C39F-437E-B2C9-4BA9F39664DC}"/>
          </ac:picMkLst>
        </pc:picChg>
      </pc:sldChg>
      <pc:sldChg chg="addSp delSp modSp new mod">
        <pc:chgData name="Gareth Allott" userId="d67bc1e7-5e6e-4540-bcf9-468a02f7a83e" providerId="ADAL" clId="{9695B0D8-2C51-4327-A5B2-1BA6FF0F509C}" dt="2021-04-08T09:45:57.775" v="2660" actId="14100"/>
        <pc:sldMkLst>
          <pc:docMk/>
          <pc:sldMk cId="2992224420" sldId="2146845401"/>
        </pc:sldMkLst>
        <pc:spChg chg="mod">
          <ac:chgData name="Gareth Allott" userId="d67bc1e7-5e6e-4540-bcf9-468a02f7a83e" providerId="ADAL" clId="{9695B0D8-2C51-4327-A5B2-1BA6FF0F509C}" dt="2021-04-08T09:42:49.044" v="2439" actId="20577"/>
          <ac:spMkLst>
            <pc:docMk/>
            <pc:sldMk cId="2992224420" sldId="2146845401"/>
            <ac:spMk id="2" creationId="{938338AD-17ED-4994-9CD8-EE5C515756B1}"/>
          </ac:spMkLst>
        </pc:spChg>
        <pc:spChg chg="del mod">
          <ac:chgData name="Gareth Allott" userId="d67bc1e7-5e6e-4540-bcf9-468a02f7a83e" providerId="ADAL" clId="{9695B0D8-2C51-4327-A5B2-1BA6FF0F509C}" dt="2021-04-08T09:42:52.555" v="2440" actId="478"/>
          <ac:spMkLst>
            <pc:docMk/>
            <pc:sldMk cId="2992224420" sldId="2146845401"/>
            <ac:spMk id="3" creationId="{1DB21F85-ED30-4A3C-9EAF-63C3D063339A}"/>
          </ac:spMkLst>
        </pc:spChg>
        <pc:spChg chg="add mod">
          <ac:chgData name="Gareth Allott" userId="d67bc1e7-5e6e-4540-bcf9-468a02f7a83e" providerId="ADAL" clId="{9695B0D8-2C51-4327-A5B2-1BA6FF0F509C}" dt="2021-04-08T09:45:57.775" v="2660" actId="14100"/>
          <ac:spMkLst>
            <pc:docMk/>
            <pc:sldMk cId="2992224420" sldId="2146845401"/>
            <ac:spMk id="6" creationId="{136D0374-90BA-434E-9BDB-F8B8030E5B05}"/>
          </ac:spMkLst>
        </pc:spChg>
        <pc:spChg chg="add mod">
          <ac:chgData name="Gareth Allott" userId="d67bc1e7-5e6e-4540-bcf9-468a02f7a83e" providerId="ADAL" clId="{9695B0D8-2C51-4327-A5B2-1BA6FF0F509C}" dt="2021-04-08T09:45:57.775" v="2660" actId="14100"/>
          <ac:spMkLst>
            <pc:docMk/>
            <pc:sldMk cId="2992224420" sldId="2146845401"/>
            <ac:spMk id="9" creationId="{81708271-59E1-463A-8F7A-AD20C89A4908}"/>
          </ac:spMkLst>
        </pc:spChg>
        <pc:spChg chg="add mod">
          <ac:chgData name="Gareth Allott" userId="d67bc1e7-5e6e-4540-bcf9-468a02f7a83e" providerId="ADAL" clId="{9695B0D8-2C51-4327-A5B2-1BA6FF0F509C}" dt="2021-04-08T09:45:03.301" v="2587" actId="207"/>
          <ac:spMkLst>
            <pc:docMk/>
            <pc:sldMk cId="2992224420" sldId="2146845401"/>
            <ac:spMk id="10" creationId="{9BB27B4D-D854-4562-AE7F-22A233647293}"/>
          </ac:spMkLst>
        </pc:spChg>
        <pc:spChg chg="add mod">
          <ac:chgData name="Gareth Allott" userId="d67bc1e7-5e6e-4540-bcf9-468a02f7a83e" providerId="ADAL" clId="{9695B0D8-2C51-4327-A5B2-1BA6FF0F509C}" dt="2021-04-08T09:45:21.581" v="2595" actId="1076"/>
          <ac:spMkLst>
            <pc:docMk/>
            <pc:sldMk cId="2992224420" sldId="2146845401"/>
            <ac:spMk id="11" creationId="{9704D9E1-8B76-42B4-AAFA-8AF3DCEE2FD8}"/>
          </ac:spMkLst>
        </pc:spChg>
        <pc:spChg chg="add mod">
          <ac:chgData name="Gareth Allott" userId="d67bc1e7-5e6e-4540-bcf9-468a02f7a83e" providerId="ADAL" clId="{9695B0D8-2C51-4327-A5B2-1BA6FF0F509C}" dt="2021-04-08T09:45:57.775" v="2660" actId="14100"/>
          <ac:spMkLst>
            <pc:docMk/>
            <pc:sldMk cId="2992224420" sldId="2146845401"/>
            <ac:spMk id="12" creationId="{77A91016-D3C9-4DB0-B6A7-640DCDDC45E8}"/>
          </ac:spMkLst>
        </pc:spChg>
        <pc:spChg chg="add mod">
          <ac:chgData name="Gareth Allott" userId="d67bc1e7-5e6e-4540-bcf9-468a02f7a83e" providerId="ADAL" clId="{9695B0D8-2C51-4327-A5B2-1BA6FF0F509C}" dt="2021-04-08T09:45:50.055" v="2657" actId="1076"/>
          <ac:spMkLst>
            <pc:docMk/>
            <pc:sldMk cId="2992224420" sldId="2146845401"/>
            <ac:spMk id="13" creationId="{57A145EE-C08D-441A-B3E3-02BC9C0143AC}"/>
          </ac:spMkLst>
        </pc:spChg>
        <pc:picChg chg="add del mod">
          <ac:chgData name="Gareth Allott" userId="d67bc1e7-5e6e-4540-bcf9-468a02f7a83e" providerId="ADAL" clId="{9695B0D8-2C51-4327-A5B2-1BA6FF0F509C}" dt="2021-04-08T09:43:38.413" v="2517" actId="478"/>
          <ac:picMkLst>
            <pc:docMk/>
            <pc:sldMk cId="2992224420" sldId="2146845401"/>
            <ac:picMk id="5" creationId="{CFDDFFC0-517E-43AB-AD52-21AF565F79BF}"/>
          </ac:picMkLst>
        </pc:picChg>
        <pc:picChg chg="add mod">
          <ac:chgData name="Gareth Allott" userId="d67bc1e7-5e6e-4540-bcf9-468a02f7a83e" providerId="ADAL" clId="{9695B0D8-2C51-4327-A5B2-1BA6FF0F509C}" dt="2021-04-08T09:45:48.494" v="2656" actId="1076"/>
          <ac:picMkLst>
            <pc:docMk/>
            <pc:sldMk cId="2992224420" sldId="2146845401"/>
            <ac:picMk id="8" creationId="{E92206BB-4303-4CB2-99FD-D597365C856A}"/>
          </ac:picMkLst>
        </pc:picChg>
      </pc:sldChg>
      <pc:sldChg chg="addSp delSp modSp add mod">
        <pc:chgData name="Gareth Allott" userId="d67bc1e7-5e6e-4540-bcf9-468a02f7a83e" providerId="ADAL" clId="{9695B0D8-2C51-4327-A5B2-1BA6FF0F509C}" dt="2021-04-08T10:08:17.267" v="3886" actId="20577"/>
        <pc:sldMkLst>
          <pc:docMk/>
          <pc:sldMk cId="2514930944" sldId="2146845402"/>
        </pc:sldMkLst>
        <pc:spChg chg="mod">
          <ac:chgData name="Gareth Allott" userId="d67bc1e7-5e6e-4540-bcf9-468a02f7a83e" providerId="ADAL" clId="{9695B0D8-2C51-4327-A5B2-1BA6FF0F509C}" dt="2021-04-08T10:08:17.267" v="3886" actId="20577"/>
          <ac:spMkLst>
            <pc:docMk/>
            <pc:sldMk cId="2514930944" sldId="2146845402"/>
            <ac:spMk id="2" creationId="{938338AD-17ED-4994-9CD8-EE5C515756B1}"/>
          </ac:spMkLst>
        </pc:spChg>
        <pc:spChg chg="add del mod">
          <ac:chgData name="Gareth Allott" userId="d67bc1e7-5e6e-4540-bcf9-468a02f7a83e" providerId="ADAL" clId="{9695B0D8-2C51-4327-A5B2-1BA6FF0F509C}" dt="2021-04-08T09:48:32.788" v="2745" actId="478"/>
          <ac:spMkLst>
            <pc:docMk/>
            <pc:sldMk cId="2514930944" sldId="2146845402"/>
            <ac:spMk id="5" creationId="{D4B1EEC8-7442-4C99-BDD4-EF23A6C7E512}"/>
          </ac:spMkLst>
        </pc:spChg>
        <pc:spChg chg="del">
          <ac:chgData name="Gareth Allott" userId="d67bc1e7-5e6e-4540-bcf9-468a02f7a83e" providerId="ADAL" clId="{9695B0D8-2C51-4327-A5B2-1BA6FF0F509C}" dt="2021-04-08T09:47:23.705" v="2731" actId="478"/>
          <ac:spMkLst>
            <pc:docMk/>
            <pc:sldMk cId="2514930944" sldId="2146845402"/>
            <ac:spMk id="6" creationId="{136D0374-90BA-434E-9BDB-F8B8030E5B05}"/>
          </ac:spMkLst>
        </pc:spChg>
        <pc:spChg chg="add mod">
          <ac:chgData name="Gareth Allott" userId="d67bc1e7-5e6e-4540-bcf9-468a02f7a83e" providerId="ADAL" clId="{9695B0D8-2C51-4327-A5B2-1BA6FF0F509C}" dt="2021-04-08T09:49:10.015" v="2778" actId="208"/>
          <ac:spMkLst>
            <pc:docMk/>
            <pc:sldMk cId="2514930944" sldId="2146845402"/>
            <ac:spMk id="7" creationId="{FE4BFB32-3E5E-4607-89CB-1E8A171EF55B}"/>
          </ac:spMkLst>
        </pc:spChg>
        <pc:spChg chg="del">
          <ac:chgData name="Gareth Allott" userId="d67bc1e7-5e6e-4540-bcf9-468a02f7a83e" providerId="ADAL" clId="{9695B0D8-2C51-4327-A5B2-1BA6FF0F509C}" dt="2021-04-08T09:47:23.705" v="2731" actId="478"/>
          <ac:spMkLst>
            <pc:docMk/>
            <pc:sldMk cId="2514930944" sldId="2146845402"/>
            <ac:spMk id="9" creationId="{81708271-59E1-463A-8F7A-AD20C89A4908}"/>
          </ac:spMkLst>
        </pc:spChg>
        <pc:spChg chg="del">
          <ac:chgData name="Gareth Allott" userId="d67bc1e7-5e6e-4540-bcf9-468a02f7a83e" providerId="ADAL" clId="{9695B0D8-2C51-4327-A5B2-1BA6FF0F509C}" dt="2021-04-08T09:47:23.705" v="2731" actId="478"/>
          <ac:spMkLst>
            <pc:docMk/>
            <pc:sldMk cId="2514930944" sldId="2146845402"/>
            <ac:spMk id="10" creationId="{9BB27B4D-D854-4562-AE7F-22A233647293}"/>
          </ac:spMkLst>
        </pc:spChg>
        <pc:spChg chg="del">
          <ac:chgData name="Gareth Allott" userId="d67bc1e7-5e6e-4540-bcf9-468a02f7a83e" providerId="ADAL" clId="{9695B0D8-2C51-4327-A5B2-1BA6FF0F509C}" dt="2021-04-08T09:47:23.705" v="2731" actId="478"/>
          <ac:spMkLst>
            <pc:docMk/>
            <pc:sldMk cId="2514930944" sldId="2146845402"/>
            <ac:spMk id="11" creationId="{9704D9E1-8B76-42B4-AAFA-8AF3DCEE2FD8}"/>
          </ac:spMkLst>
        </pc:spChg>
        <pc:spChg chg="del">
          <ac:chgData name="Gareth Allott" userId="d67bc1e7-5e6e-4540-bcf9-468a02f7a83e" providerId="ADAL" clId="{9695B0D8-2C51-4327-A5B2-1BA6FF0F509C}" dt="2021-04-08T09:47:23.705" v="2731" actId="478"/>
          <ac:spMkLst>
            <pc:docMk/>
            <pc:sldMk cId="2514930944" sldId="2146845402"/>
            <ac:spMk id="12" creationId="{77A91016-D3C9-4DB0-B6A7-640DCDDC45E8}"/>
          </ac:spMkLst>
        </pc:spChg>
        <pc:spChg chg="del">
          <ac:chgData name="Gareth Allott" userId="d67bc1e7-5e6e-4540-bcf9-468a02f7a83e" providerId="ADAL" clId="{9695B0D8-2C51-4327-A5B2-1BA6FF0F509C}" dt="2021-04-08T09:47:23.705" v="2731" actId="478"/>
          <ac:spMkLst>
            <pc:docMk/>
            <pc:sldMk cId="2514930944" sldId="2146845402"/>
            <ac:spMk id="13" creationId="{57A145EE-C08D-441A-B3E3-02BC9C0143AC}"/>
          </ac:spMkLst>
        </pc:spChg>
        <pc:spChg chg="add mod">
          <ac:chgData name="Gareth Allott" userId="d67bc1e7-5e6e-4540-bcf9-468a02f7a83e" providerId="ADAL" clId="{9695B0D8-2C51-4327-A5B2-1BA6FF0F509C}" dt="2021-04-08T09:49:04.489" v="2777" actId="207"/>
          <ac:spMkLst>
            <pc:docMk/>
            <pc:sldMk cId="2514930944" sldId="2146845402"/>
            <ac:spMk id="15" creationId="{255816ED-716F-4F43-85F4-B7EB6BD76E19}"/>
          </ac:spMkLst>
        </pc:spChg>
        <pc:picChg chg="add mod">
          <ac:chgData name="Gareth Allott" userId="d67bc1e7-5e6e-4540-bcf9-468a02f7a83e" providerId="ADAL" clId="{9695B0D8-2C51-4327-A5B2-1BA6FF0F509C}" dt="2021-04-08T09:47:35.321" v="2737" actId="1076"/>
          <ac:picMkLst>
            <pc:docMk/>
            <pc:sldMk cId="2514930944" sldId="2146845402"/>
            <ac:picMk id="4" creationId="{D7890C9B-7CB1-4051-93C6-5313CB76E409}"/>
          </ac:picMkLst>
        </pc:picChg>
        <pc:picChg chg="del">
          <ac:chgData name="Gareth Allott" userId="d67bc1e7-5e6e-4540-bcf9-468a02f7a83e" providerId="ADAL" clId="{9695B0D8-2C51-4327-A5B2-1BA6FF0F509C}" dt="2021-04-08T09:47:24.828" v="2732" actId="478"/>
          <ac:picMkLst>
            <pc:docMk/>
            <pc:sldMk cId="2514930944" sldId="2146845402"/>
            <ac:picMk id="8" creationId="{E92206BB-4303-4CB2-99FD-D597365C856A}"/>
          </ac:picMkLst>
        </pc:picChg>
        <pc:picChg chg="add mod modCrop">
          <ac:chgData name="Gareth Allott" userId="d67bc1e7-5e6e-4540-bcf9-468a02f7a83e" providerId="ADAL" clId="{9695B0D8-2C51-4327-A5B2-1BA6FF0F509C}" dt="2021-04-08T09:48:09.295" v="2742" actId="14100"/>
          <ac:picMkLst>
            <pc:docMk/>
            <pc:sldMk cId="2514930944" sldId="2146845402"/>
            <ac:picMk id="14" creationId="{C06F496B-A08A-4845-BD88-6A04E33A6F4C}"/>
          </ac:picMkLst>
        </pc:picChg>
        <pc:cxnChg chg="add mod">
          <ac:chgData name="Gareth Allott" userId="d67bc1e7-5e6e-4540-bcf9-468a02f7a83e" providerId="ADAL" clId="{9695B0D8-2C51-4327-A5B2-1BA6FF0F509C}" dt="2021-04-08T09:49:27.615" v="2781" actId="1582"/>
          <ac:cxnSpMkLst>
            <pc:docMk/>
            <pc:sldMk cId="2514930944" sldId="2146845402"/>
            <ac:cxnSpMk id="17" creationId="{90ACB7D3-49F2-4231-9CC1-38DF1E4B5CB5}"/>
          </ac:cxnSpMkLst>
        </pc:cxnChg>
      </pc:sldChg>
      <pc:sldChg chg="addSp delSp modSp add mod">
        <pc:chgData name="Gareth Allott" userId="d67bc1e7-5e6e-4540-bcf9-468a02f7a83e" providerId="ADAL" clId="{9695B0D8-2C51-4327-A5B2-1BA6FF0F509C}" dt="2021-04-08T09:54:26.288" v="3187" actId="1037"/>
        <pc:sldMkLst>
          <pc:docMk/>
          <pc:sldMk cId="418550112" sldId="2146845403"/>
        </pc:sldMkLst>
        <pc:spChg chg="mod">
          <ac:chgData name="Gareth Allott" userId="d67bc1e7-5e6e-4540-bcf9-468a02f7a83e" providerId="ADAL" clId="{9695B0D8-2C51-4327-A5B2-1BA6FF0F509C}" dt="2021-04-08T09:52:47.229" v="2938" actId="20577"/>
          <ac:spMkLst>
            <pc:docMk/>
            <pc:sldMk cId="418550112" sldId="2146845403"/>
            <ac:spMk id="2" creationId="{938338AD-17ED-4994-9CD8-EE5C515756B1}"/>
          </ac:spMkLst>
        </pc:spChg>
        <pc:spChg chg="add mod">
          <ac:chgData name="Gareth Allott" userId="d67bc1e7-5e6e-4540-bcf9-468a02f7a83e" providerId="ADAL" clId="{9695B0D8-2C51-4327-A5B2-1BA6FF0F509C}" dt="2021-04-08T09:54:26.288" v="3187" actId="1037"/>
          <ac:spMkLst>
            <pc:docMk/>
            <pc:sldMk cId="418550112" sldId="2146845403"/>
            <ac:spMk id="6" creationId="{EE323DC2-2776-4E6B-9CFF-BEDABC0E05ED}"/>
          </ac:spMkLst>
        </pc:spChg>
        <pc:spChg chg="del">
          <ac:chgData name="Gareth Allott" userId="d67bc1e7-5e6e-4540-bcf9-468a02f7a83e" providerId="ADAL" clId="{9695B0D8-2C51-4327-A5B2-1BA6FF0F509C}" dt="2021-04-08T09:49:57.646" v="2829" actId="478"/>
          <ac:spMkLst>
            <pc:docMk/>
            <pc:sldMk cId="418550112" sldId="2146845403"/>
            <ac:spMk id="7" creationId="{FE4BFB32-3E5E-4607-89CB-1E8A171EF55B}"/>
          </ac:spMkLst>
        </pc:spChg>
        <pc:spChg chg="del">
          <ac:chgData name="Gareth Allott" userId="d67bc1e7-5e6e-4540-bcf9-468a02f7a83e" providerId="ADAL" clId="{9695B0D8-2C51-4327-A5B2-1BA6FF0F509C}" dt="2021-04-08T09:49:57.646" v="2829" actId="478"/>
          <ac:spMkLst>
            <pc:docMk/>
            <pc:sldMk cId="418550112" sldId="2146845403"/>
            <ac:spMk id="15" creationId="{255816ED-716F-4F43-85F4-B7EB6BD76E19}"/>
          </ac:spMkLst>
        </pc:spChg>
        <pc:spChg chg="add mod">
          <ac:chgData name="Gareth Allott" userId="d67bc1e7-5e6e-4540-bcf9-468a02f7a83e" providerId="ADAL" clId="{9695B0D8-2C51-4327-A5B2-1BA6FF0F509C}" dt="2021-04-08T09:54:26.288" v="3187" actId="1037"/>
          <ac:spMkLst>
            <pc:docMk/>
            <pc:sldMk cId="418550112" sldId="2146845403"/>
            <ac:spMk id="29" creationId="{BC5326B2-A7ED-4B27-BC31-95FEF874C3C4}"/>
          </ac:spMkLst>
        </pc:spChg>
        <pc:picChg chg="del">
          <ac:chgData name="Gareth Allott" userId="d67bc1e7-5e6e-4540-bcf9-468a02f7a83e" providerId="ADAL" clId="{9695B0D8-2C51-4327-A5B2-1BA6FF0F509C}" dt="2021-04-08T09:49:57.646" v="2829" actId="478"/>
          <ac:picMkLst>
            <pc:docMk/>
            <pc:sldMk cId="418550112" sldId="2146845403"/>
            <ac:picMk id="4" creationId="{D7890C9B-7CB1-4051-93C6-5313CB76E409}"/>
          </ac:picMkLst>
        </pc:picChg>
        <pc:picChg chg="add mod">
          <ac:chgData name="Gareth Allott" userId="d67bc1e7-5e6e-4540-bcf9-468a02f7a83e" providerId="ADAL" clId="{9695B0D8-2C51-4327-A5B2-1BA6FF0F509C}" dt="2021-04-08T09:54:26.288" v="3187" actId="1037"/>
          <ac:picMkLst>
            <pc:docMk/>
            <pc:sldMk cId="418550112" sldId="2146845403"/>
            <ac:picMk id="5" creationId="{23083362-FB0D-44A1-82D1-04C3DA717F1A}"/>
          </ac:picMkLst>
        </pc:picChg>
        <pc:picChg chg="add mod">
          <ac:chgData name="Gareth Allott" userId="d67bc1e7-5e6e-4540-bcf9-468a02f7a83e" providerId="ADAL" clId="{9695B0D8-2C51-4327-A5B2-1BA6FF0F509C}" dt="2021-04-08T09:54:26.288" v="3187" actId="1037"/>
          <ac:picMkLst>
            <pc:docMk/>
            <pc:sldMk cId="418550112" sldId="2146845403"/>
            <ac:picMk id="9" creationId="{89BF50DD-0C17-4339-8E9B-096C40A6F783}"/>
          </ac:picMkLst>
        </pc:picChg>
        <pc:picChg chg="add mod">
          <ac:chgData name="Gareth Allott" userId="d67bc1e7-5e6e-4540-bcf9-468a02f7a83e" providerId="ADAL" clId="{9695B0D8-2C51-4327-A5B2-1BA6FF0F509C}" dt="2021-04-08T09:54:26.288" v="3187" actId="1037"/>
          <ac:picMkLst>
            <pc:docMk/>
            <pc:sldMk cId="418550112" sldId="2146845403"/>
            <ac:picMk id="11" creationId="{862F298A-43A9-4435-BF94-9064D9BCFCAD}"/>
          </ac:picMkLst>
        </pc:picChg>
        <pc:picChg chg="del">
          <ac:chgData name="Gareth Allott" userId="d67bc1e7-5e6e-4540-bcf9-468a02f7a83e" providerId="ADAL" clId="{9695B0D8-2C51-4327-A5B2-1BA6FF0F509C}" dt="2021-04-08T09:49:57.646" v="2829" actId="478"/>
          <ac:picMkLst>
            <pc:docMk/>
            <pc:sldMk cId="418550112" sldId="2146845403"/>
            <ac:picMk id="14" creationId="{C06F496B-A08A-4845-BD88-6A04E33A6F4C}"/>
          </ac:picMkLst>
        </pc:picChg>
        <pc:picChg chg="add mod">
          <ac:chgData name="Gareth Allott" userId="d67bc1e7-5e6e-4540-bcf9-468a02f7a83e" providerId="ADAL" clId="{9695B0D8-2C51-4327-A5B2-1BA6FF0F509C}" dt="2021-04-08T09:54:26.288" v="3187" actId="1037"/>
          <ac:picMkLst>
            <pc:docMk/>
            <pc:sldMk cId="418550112" sldId="2146845403"/>
            <ac:picMk id="28" creationId="{A2640CED-EA72-4D83-8AE7-D539CC1950BA}"/>
          </ac:picMkLst>
        </pc:picChg>
        <pc:cxnChg chg="add mod">
          <ac:chgData name="Gareth Allott" userId="d67bc1e7-5e6e-4540-bcf9-468a02f7a83e" providerId="ADAL" clId="{9695B0D8-2C51-4327-A5B2-1BA6FF0F509C}" dt="2021-04-08T09:54:26.288" v="3187" actId="1037"/>
          <ac:cxnSpMkLst>
            <pc:docMk/>
            <pc:sldMk cId="418550112" sldId="2146845403"/>
            <ac:cxnSpMk id="13" creationId="{35B79475-0469-4C5C-B1FD-F89D67A467F5}"/>
          </ac:cxnSpMkLst>
        </pc:cxnChg>
        <pc:cxnChg chg="del">
          <ac:chgData name="Gareth Allott" userId="d67bc1e7-5e6e-4540-bcf9-468a02f7a83e" providerId="ADAL" clId="{9695B0D8-2C51-4327-A5B2-1BA6FF0F509C}" dt="2021-04-08T09:49:57.646" v="2829" actId="478"/>
          <ac:cxnSpMkLst>
            <pc:docMk/>
            <pc:sldMk cId="418550112" sldId="2146845403"/>
            <ac:cxnSpMk id="17" creationId="{90ACB7D3-49F2-4231-9CC1-38DF1E4B5CB5}"/>
          </ac:cxnSpMkLst>
        </pc:cxnChg>
        <pc:cxnChg chg="add mod">
          <ac:chgData name="Gareth Allott" userId="d67bc1e7-5e6e-4540-bcf9-468a02f7a83e" providerId="ADAL" clId="{9695B0D8-2C51-4327-A5B2-1BA6FF0F509C}" dt="2021-04-08T09:54:26.288" v="3187" actId="1037"/>
          <ac:cxnSpMkLst>
            <pc:docMk/>
            <pc:sldMk cId="418550112" sldId="2146845403"/>
            <ac:cxnSpMk id="18" creationId="{3B62919F-E8EC-4BFA-A048-8D499FDBE5AE}"/>
          </ac:cxnSpMkLst>
        </pc:cxnChg>
        <pc:cxnChg chg="add mod">
          <ac:chgData name="Gareth Allott" userId="d67bc1e7-5e6e-4540-bcf9-468a02f7a83e" providerId="ADAL" clId="{9695B0D8-2C51-4327-A5B2-1BA6FF0F509C}" dt="2021-04-08T09:54:26.288" v="3187" actId="1037"/>
          <ac:cxnSpMkLst>
            <pc:docMk/>
            <pc:sldMk cId="418550112" sldId="2146845403"/>
            <ac:cxnSpMk id="21" creationId="{26B0C77B-E57E-44E2-9289-8D9EE3105CC4}"/>
          </ac:cxnSpMkLst>
        </pc:cxnChg>
      </pc:sldChg>
      <pc:sldChg chg="addSp delSp modSp new mod modClrScheme chgLayout">
        <pc:chgData name="Gareth Allott" userId="d67bc1e7-5e6e-4540-bcf9-468a02f7a83e" providerId="ADAL" clId="{9695B0D8-2C51-4327-A5B2-1BA6FF0F509C}" dt="2021-04-08T09:54:56.350" v="3212" actId="478"/>
        <pc:sldMkLst>
          <pc:docMk/>
          <pc:sldMk cId="3001931842" sldId="2146845404"/>
        </pc:sldMkLst>
        <pc:spChg chg="del mod ord">
          <ac:chgData name="Gareth Allott" userId="d67bc1e7-5e6e-4540-bcf9-468a02f7a83e" providerId="ADAL" clId="{9695B0D8-2C51-4327-A5B2-1BA6FF0F509C}" dt="2021-04-08T09:54:46.575" v="3189" actId="700"/>
          <ac:spMkLst>
            <pc:docMk/>
            <pc:sldMk cId="3001931842" sldId="2146845404"/>
            <ac:spMk id="2" creationId="{D496D7BB-A020-46F1-8C89-65398668500E}"/>
          </ac:spMkLst>
        </pc:spChg>
        <pc:spChg chg="del mod ord">
          <ac:chgData name="Gareth Allott" userId="d67bc1e7-5e6e-4540-bcf9-468a02f7a83e" providerId="ADAL" clId="{9695B0D8-2C51-4327-A5B2-1BA6FF0F509C}" dt="2021-04-08T09:54:46.575" v="3189" actId="700"/>
          <ac:spMkLst>
            <pc:docMk/>
            <pc:sldMk cId="3001931842" sldId="2146845404"/>
            <ac:spMk id="3" creationId="{3AEF121A-36FF-4F39-9159-E688166F2431}"/>
          </ac:spMkLst>
        </pc:spChg>
        <pc:spChg chg="add mod ord">
          <ac:chgData name="Gareth Allott" userId="d67bc1e7-5e6e-4540-bcf9-468a02f7a83e" providerId="ADAL" clId="{9695B0D8-2C51-4327-A5B2-1BA6FF0F509C}" dt="2021-04-08T09:54:52.791" v="3211" actId="20577"/>
          <ac:spMkLst>
            <pc:docMk/>
            <pc:sldMk cId="3001931842" sldId="2146845404"/>
            <ac:spMk id="4" creationId="{BE17010F-43DB-4FF0-9EF2-5FC72E58BCFF}"/>
          </ac:spMkLst>
        </pc:spChg>
        <pc:spChg chg="add del mod ord">
          <ac:chgData name="Gareth Allott" userId="d67bc1e7-5e6e-4540-bcf9-468a02f7a83e" providerId="ADAL" clId="{9695B0D8-2C51-4327-A5B2-1BA6FF0F509C}" dt="2021-04-08T09:54:56.350" v="3212" actId="478"/>
          <ac:spMkLst>
            <pc:docMk/>
            <pc:sldMk cId="3001931842" sldId="2146845404"/>
            <ac:spMk id="5" creationId="{D7C336CD-B656-4359-B286-9083937A4D4B}"/>
          </ac:spMkLst>
        </pc:spChg>
        <pc:spChg chg="add del mod ord">
          <ac:chgData name="Gareth Allott" userId="d67bc1e7-5e6e-4540-bcf9-468a02f7a83e" providerId="ADAL" clId="{9695B0D8-2C51-4327-A5B2-1BA6FF0F509C}" dt="2021-04-08T09:54:56.350" v="3212" actId="478"/>
          <ac:spMkLst>
            <pc:docMk/>
            <pc:sldMk cId="3001931842" sldId="2146845404"/>
            <ac:spMk id="6" creationId="{34252C92-2CDF-4159-8786-11259B98A7BD}"/>
          </ac:spMkLst>
        </pc:spChg>
      </pc:sldChg>
      <pc:sldChg chg="addSp delSp modSp add mod">
        <pc:chgData name="Gareth Allott" userId="d67bc1e7-5e6e-4540-bcf9-468a02f7a83e" providerId="ADAL" clId="{9695B0D8-2C51-4327-A5B2-1BA6FF0F509C}" dt="2021-04-08T09:56:41.828" v="3322" actId="20577"/>
        <pc:sldMkLst>
          <pc:docMk/>
          <pc:sldMk cId="2573256152" sldId="2146845405"/>
        </pc:sldMkLst>
        <pc:spChg chg="mod">
          <ac:chgData name="Gareth Allott" userId="d67bc1e7-5e6e-4540-bcf9-468a02f7a83e" providerId="ADAL" clId="{9695B0D8-2C51-4327-A5B2-1BA6FF0F509C}" dt="2021-04-08T09:56:41.828" v="3322" actId="20577"/>
          <ac:spMkLst>
            <pc:docMk/>
            <pc:sldMk cId="2573256152" sldId="2146845405"/>
            <ac:spMk id="2" creationId="{938338AD-17ED-4994-9CD8-EE5C515756B1}"/>
          </ac:spMkLst>
        </pc:spChg>
        <pc:spChg chg="del">
          <ac:chgData name="Gareth Allott" userId="d67bc1e7-5e6e-4540-bcf9-468a02f7a83e" providerId="ADAL" clId="{9695B0D8-2C51-4327-A5B2-1BA6FF0F509C}" dt="2021-04-08T09:55:06.791" v="3214" actId="478"/>
          <ac:spMkLst>
            <pc:docMk/>
            <pc:sldMk cId="2573256152" sldId="2146845405"/>
            <ac:spMk id="6" creationId="{EE323DC2-2776-4E6B-9CFF-BEDABC0E05ED}"/>
          </ac:spMkLst>
        </pc:spChg>
        <pc:spChg chg="del">
          <ac:chgData name="Gareth Allott" userId="d67bc1e7-5e6e-4540-bcf9-468a02f7a83e" providerId="ADAL" clId="{9695B0D8-2C51-4327-A5B2-1BA6FF0F509C}" dt="2021-04-08T09:55:06.791" v="3214" actId="478"/>
          <ac:spMkLst>
            <pc:docMk/>
            <pc:sldMk cId="2573256152" sldId="2146845405"/>
            <ac:spMk id="29" creationId="{BC5326B2-A7ED-4B27-BC31-95FEF874C3C4}"/>
          </ac:spMkLst>
        </pc:spChg>
        <pc:picChg chg="add del mod">
          <ac:chgData name="Gareth Allott" userId="d67bc1e7-5e6e-4540-bcf9-468a02f7a83e" providerId="ADAL" clId="{9695B0D8-2C51-4327-A5B2-1BA6FF0F509C}" dt="2021-04-08T09:56:28.689" v="3300" actId="478"/>
          <ac:picMkLst>
            <pc:docMk/>
            <pc:sldMk cId="2573256152" sldId="2146845405"/>
            <ac:picMk id="4" creationId="{CDB3A9B1-C9A5-4726-8ED0-4405BBA953A1}"/>
          </ac:picMkLst>
        </pc:picChg>
        <pc:picChg chg="del">
          <ac:chgData name="Gareth Allott" userId="d67bc1e7-5e6e-4540-bcf9-468a02f7a83e" providerId="ADAL" clId="{9695B0D8-2C51-4327-A5B2-1BA6FF0F509C}" dt="2021-04-08T09:55:06.791" v="3214" actId="478"/>
          <ac:picMkLst>
            <pc:docMk/>
            <pc:sldMk cId="2573256152" sldId="2146845405"/>
            <ac:picMk id="5" creationId="{23083362-FB0D-44A1-82D1-04C3DA717F1A}"/>
          </ac:picMkLst>
        </pc:picChg>
        <pc:picChg chg="add mod">
          <ac:chgData name="Gareth Allott" userId="d67bc1e7-5e6e-4540-bcf9-468a02f7a83e" providerId="ADAL" clId="{9695B0D8-2C51-4327-A5B2-1BA6FF0F509C}" dt="2021-04-08T09:56:36.860" v="3312" actId="1076"/>
          <ac:picMkLst>
            <pc:docMk/>
            <pc:sldMk cId="2573256152" sldId="2146845405"/>
            <ac:picMk id="8" creationId="{3C4762C7-21D2-40EA-9BD0-AAE3665BB08D}"/>
          </ac:picMkLst>
        </pc:picChg>
        <pc:picChg chg="del">
          <ac:chgData name="Gareth Allott" userId="d67bc1e7-5e6e-4540-bcf9-468a02f7a83e" providerId="ADAL" clId="{9695B0D8-2C51-4327-A5B2-1BA6FF0F509C}" dt="2021-04-08T09:55:06.791" v="3214" actId="478"/>
          <ac:picMkLst>
            <pc:docMk/>
            <pc:sldMk cId="2573256152" sldId="2146845405"/>
            <ac:picMk id="9" creationId="{89BF50DD-0C17-4339-8E9B-096C40A6F783}"/>
          </ac:picMkLst>
        </pc:picChg>
        <pc:picChg chg="del">
          <ac:chgData name="Gareth Allott" userId="d67bc1e7-5e6e-4540-bcf9-468a02f7a83e" providerId="ADAL" clId="{9695B0D8-2C51-4327-A5B2-1BA6FF0F509C}" dt="2021-04-08T09:55:06.791" v="3214" actId="478"/>
          <ac:picMkLst>
            <pc:docMk/>
            <pc:sldMk cId="2573256152" sldId="2146845405"/>
            <ac:picMk id="11" creationId="{862F298A-43A9-4435-BF94-9064D9BCFCAD}"/>
          </ac:picMkLst>
        </pc:picChg>
        <pc:picChg chg="del">
          <ac:chgData name="Gareth Allott" userId="d67bc1e7-5e6e-4540-bcf9-468a02f7a83e" providerId="ADAL" clId="{9695B0D8-2C51-4327-A5B2-1BA6FF0F509C}" dt="2021-04-08T09:55:06.791" v="3214" actId="478"/>
          <ac:picMkLst>
            <pc:docMk/>
            <pc:sldMk cId="2573256152" sldId="2146845405"/>
            <ac:picMk id="28" creationId="{A2640CED-EA72-4D83-8AE7-D539CC1950BA}"/>
          </ac:picMkLst>
        </pc:picChg>
        <pc:cxnChg chg="del mod">
          <ac:chgData name="Gareth Allott" userId="d67bc1e7-5e6e-4540-bcf9-468a02f7a83e" providerId="ADAL" clId="{9695B0D8-2C51-4327-A5B2-1BA6FF0F509C}" dt="2021-04-08T09:55:06.791" v="3214" actId="478"/>
          <ac:cxnSpMkLst>
            <pc:docMk/>
            <pc:sldMk cId="2573256152" sldId="2146845405"/>
            <ac:cxnSpMk id="13" creationId="{35B79475-0469-4C5C-B1FD-F89D67A467F5}"/>
          </ac:cxnSpMkLst>
        </pc:cxnChg>
        <pc:cxnChg chg="del mod">
          <ac:chgData name="Gareth Allott" userId="d67bc1e7-5e6e-4540-bcf9-468a02f7a83e" providerId="ADAL" clId="{9695B0D8-2C51-4327-A5B2-1BA6FF0F509C}" dt="2021-04-08T09:55:06.791" v="3214" actId="478"/>
          <ac:cxnSpMkLst>
            <pc:docMk/>
            <pc:sldMk cId="2573256152" sldId="2146845405"/>
            <ac:cxnSpMk id="18" creationId="{3B62919F-E8EC-4BFA-A048-8D499FDBE5AE}"/>
          </ac:cxnSpMkLst>
        </pc:cxnChg>
        <pc:cxnChg chg="del mod">
          <ac:chgData name="Gareth Allott" userId="d67bc1e7-5e6e-4540-bcf9-468a02f7a83e" providerId="ADAL" clId="{9695B0D8-2C51-4327-A5B2-1BA6FF0F509C}" dt="2021-04-08T09:55:06.791" v="3214" actId="478"/>
          <ac:cxnSpMkLst>
            <pc:docMk/>
            <pc:sldMk cId="2573256152" sldId="2146845405"/>
            <ac:cxnSpMk id="21" creationId="{26B0C77B-E57E-44E2-9289-8D9EE3105CC4}"/>
          </ac:cxnSpMkLst>
        </pc:cxnChg>
      </pc:sldChg>
      <pc:sldChg chg="addSp delSp modSp add mod">
        <pc:chgData name="Gareth Allott" userId="d67bc1e7-5e6e-4540-bcf9-468a02f7a83e" providerId="ADAL" clId="{9695B0D8-2C51-4327-A5B2-1BA6FF0F509C}" dt="2021-04-08T09:58:43.907" v="3397" actId="14100"/>
        <pc:sldMkLst>
          <pc:docMk/>
          <pc:sldMk cId="1571654902" sldId="2146845406"/>
        </pc:sldMkLst>
        <pc:spChg chg="mod">
          <ac:chgData name="Gareth Allott" userId="d67bc1e7-5e6e-4540-bcf9-468a02f7a83e" providerId="ADAL" clId="{9695B0D8-2C51-4327-A5B2-1BA6FF0F509C}" dt="2021-04-08T09:57:24.776" v="3373" actId="20577"/>
          <ac:spMkLst>
            <pc:docMk/>
            <pc:sldMk cId="1571654902" sldId="2146845406"/>
            <ac:spMk id="2" creationId="{938338AD-17ED-4994-9CD8-EE5C515756B1}"/>
          </ac:spMkLst>
        </pc:spChg>
        <pc:spChg chg="add mod">
          <ac:chgData name="Gareth Allott" userId="d67bc1e7-5e6e-4540-bcf9-468a02f7a83e" providerId="ADAL" clId="{9695B0D8-2C51-4327-A5B2-1BA6FF0F509C}" dt="2021-04-08T09:58:22.756" v="3389" actId="1076"/>
          <ac:spMkLst>
            <pc:docMk/>
            <pc:sldMk cId="1571654902" sldId="2146845406"/>
            <ac:spMk id="5" creationId="{3964A0EE-B94C-4E65-BAE0-87BACB610B67}"/>
          </ac:spMkLst>
        </pc:spChg>
        <pc:spChg chg="add mod">
          <ac:chgData name="Gareth Allott" userId="d67bc1e7-5e6e-4540-bcf9-468a02f7a83e" providerId="ADAL" clId="{9695B0D8-2C51-4327-A5B2-1BA6FF0F509C}" dt="2021-04-08T09:58:43.907" v="3397" actId="14100"/>
          <ac:spMkLst>
            <pc:docMk/>
            <pc:sldMk cId="1571654902" sldId="2146845406"/>
            <ac:spMk id="9" creationId="{01022141-AB07-45CA-9AFE-04430557C280}"/>
          </ac:spMkLst>
        </pc:spChg>
        <pc:picChg chg="add mod">
          <ac:chgData name="Gareth Allott" userId="d67bc1e7-5e6e-4540-bcf9-468a02f7a83e" providerId="ADAL" clId="{9695B0D8-2C51-4327-A5B2-1BA6FF0F509C}" dt="2021-04-08T09:57:40.131" v="3378" actId="1076"/>
          <ac:picMkLst>
            <pc:docMk/>
            <pc:sldMk cId="1571654902" sldId="2146845406"/>
            <ac:picMk id="4" creationId="{B87C53D0-2DB7-448C-8AFA-9B1B956EF92D}"/>
          </ac:picMkLst>
        </pc:picChg>
        <pc:picChg chg="add mod modCrop">
          <ac:chgData name="Gareth Allott" userId="d67bc1e7-5e6e-4540-bcf9-468a02f7a83e" providerId="ADAL" clId="{9695B0D8-2C51-4327-A5B2-1BA6FF0F509C}" dt="2021-04-08T09:58:08.538" v="3384" actId="1076"/>
          <ac:picMkLst>
            <pc:docMk/>
            <pc:sldMk cId="1571654902" sldId="2146845406"/>
            <ac:picMk id="6" creationId="{3575168A-FECB-4125-94B8-914594D8DD1D}"/>
          </ac:picMkLst>
        </pc:picChg>
        <pc:picChg chg="del">
          <ac:chgData name="Gareth Allott" userId="d67bc1e7-5e6e-4540-bcf9-468a02f7a83e" providerId="ADAL" clId="{9695B0D8-2C51-4327-A5B2-1BA6FF0F509C}" dt="2021-04-08T09:57:26.598" v="3374" actId="478"/>
          <ac:picMkLst>
            <pc:docMk/>
            <pc:sldMk cId="1571654902" sldId="2146845406"/>
            <ac:picMk id="8" creationId="{3C4762C7-21D2-40EA-9BD0-AAE3665BB08D}"/>
          </ac:picMkLst>
        </pc:picChg>
      </pc:sldChg>
      <pc:sldChg chg="addSp delSp modSp add mod">
        <pc:chgData name="Gareth Allott" userId="d67bc1e7-5e6e-4540-bcf9-468a02f7a83e" providerId="ADAL" clId="{9695B0D8-2C51-4327-A5B2-1BA6FF0F509C}" dt="2021-04-08T10:04:25.326" v="3685" actId="20577"/>
        <pc:sldMkLst>
          <pc:docMk/>
          <pc:sldMk cId="2388733893" sldId="2146845407"/>
        </pc:sldMkLst>
        <pc:spChg chg="mod">
          <ac:chgData name="Gareth Allott" userId="d67bc1e7-5e6e-4540-bcf9-468a02f7a83e" providerId="ADAL" clId="{9695B0D8-2C51-4327-A5B2-1BA6FF0F509C}" dt="2021-04-08T09:59:14.031" v="3467" actId="20577"/>
          <ac:spMkLst>
            <pc:docMk/>
            <pc:sldMk cId="2388733893" sldId="2146845407"/>
            <ac:spMk id="2" creationId="{938338AD-17ED-4994-9CD8-EE5C515756B1}"/>
          </ac:spMkLst>
        </pc:spChg>
        <pc:spChg chg="del mod">
          <ac:chgData name="Gareth Allott" userId="d67bc1e7-5e6e-4540-bcf9-468a02f7a83e" providerId="ADAL" clId="{9695B0D8-2C51-4327-A5B2-1BA6FF0F509C}" dt="2021-04-08T09:59:09.872" v="3465" actId="478"/>
          <ac:spMkLst>
            <pc:docMk/>
            <pc:sldMk cId="2388733893" sldId="2146845407"/>
            <ac:spMk id="5" creationId="{3964A0EE-B94C-4E65-BAE0-87BACB610B67}"/>
          </ac:spMkLst>
        </pc:spChg>
        <pc:spChg chg="del">
          <ac:chgData name="Gareth Allott" userId="d67bc1e7-5e6e-4540-bcf9-468a02f7a83e" providerId="ADAL" clId="{9695B0D8-2C51-4327-A5B2-1BA6FF0F509C}" dt="2021-04-08T09:59:09.446" v="3463" actId="478"/>
          <ac:spMkLst>
            <pc:docMk/>
            <pc:sldMk cId="2388733893" sldId="2146845407"/>
            <ac:spMk id="9" creationId="{01022141-AB07-45CA-9AFE-04430557C280}"/>
          </ac:spMkLst>
        </pc:spChg>
        <pc:spChg chg="add mod">
          <ac:chgData name="Gareth Allott" userId="d67bc1e7-5e6e-4540-bcf9-468a02f7a83e" providerId="ADAL" clId="{9695B0D8-2C51-4327-A5B2-1BA6FF0F509C}" dt="2021-04-08T10:04:25.326" v="3685" actId="20577"/>
          <ac:spMkLst>
            <pc:docMk/>
            <pc:sldMk cId="2388733893" sldId="2146845407"/>
            <ac:spMk id="10" creationId="{3900C6E9-36B6-4872-9CC6-FDF855348790}"/>
          </ac:spMkLst>
        </pc:spChg>
        <pc:spChg chg="add mod">
          <ac:chgData name="Gareth Allott" userId="d67bc1e7-5e6e-4540-bcf9-468a02f7a83e" providerId="ADAL" clId="{9695B0D8-2C51-4327-A5B2-1BA6FF0F509C}" dt="2021-04-08T10:02:45.005" v="3580" actId="1076"/>
          <ac:spMkLst>
            <pc:docMk/>
            <pc:sldMk cId="2388733893" sldId="2146845407"/>
            <ac:spMk id="11" creationId="{CBEF8A9D-068B-414E-BF45-6329C47A92EB}"/>
          </ac:spMkLst>
        </pc:spChg>
        <pc:picChg chg="del">
          <ac:chgData name="Gareth Allott" userId="d67bc1e7-5e6e-4540-bcf9-468a02f7a83e" providerId="ADAL" clId="{9695B0D8-2C51-4327-A5B2-1BA6FF0F509C}" dt="2021-04-08T09:59:10.997" v="3466" actId="478"/>
          <ac:picMkLst>
            <pc:docMk/>
            <pc:sldMk cId="2388733893" sldId="2146845407"/>
            <ac:picMk id="4" creationId="{B87C53D0-2DB7-448C-8AFA-9B1B956EF92D}"/>
          </ac:picMkLst>
        </pc:picChg>
        <pc:picChg chg="del">
          <ac:chgData name="Gareth Allott" userId="d67bc1e7-5e6e-4540-bcf9-468a02f7a83e" providerId="ADAL" clId="{9695B0D8-2C51-4327-A5B2-1BA6FF0F509C}" dt="2021-04-08T09:59:08.446" v="3462" actId="478"/>
          <ac:picMkLst>
            <pc:docMk/>
            <pc:sldMk cId="2388733893" sldId="2146845407"/>
            <ac:picMk id="6" creationId="{3575168A-FECB-4125-94B8-914594D8DD1D}"/>
          </ac:picMkLst>
        </pc:picChg>
        <pc:picChg chg="add mod">
          <ac:chgData name="Gareth Allott" userId="d67bc1e7-5e6e-4540-bcf9-468a02f7a83e" providerId="ADAL" clId="{9695B0D8-2C51-4327-A5B2-1BA6FF0F509C}" dt="2021-04-08T10:02:15.752" v="3564" actId="1076"/>
          <ac:picMkLst>
            <pc:docMk/>
            <pc:sldMk cId="2388733893" sldId="2146845407"/>
            <ac:picMk id="7" creationId="{DF20063A-3BA8-440B-A3E3-C8DAB7B767C3}"/>
          </ac:picMkLst>
        </pc:picChg>
      </pc:sldChg>
      <pc:sldChg chg="addSp delSp modSp new mod modClrScheme chgLayout">
        <pc:chgData name="Gareth Allott" userId="d67bc1e7-5e6e-4540-bcf9-468a02f7a83e" providerId="ADAL" clId="{9695B0D8-2C51-4327-A5B2-1BA6FF0F509C}" dt="2021-04-08T10:01:07.868" v="3549" actId="1037"/>
        <pc:sldMkLst>
          <pc:docMk/>
          <pc:sldMk cId="76560753" sldId="2146845408"/>
        </pc:sldMkLst>
        <pc:spChg chg="del mod ord">
          <ac:chgData name="Gareth Allott" userId="d67bc1e7-5e6e-4540-bcf9-468a02f7a83e" providerId="ADAL" clId="{9695B0D8-2C51-4327-A5B2-1BA6FF0F509C}" dt="2021-04-08T10:00:10.627" v="3469" actId="700"/>
          <ac:spMkLst>
            <pc:docMk/>
            <pc:sldMk cId="76560753" sldId="2146845408"/>
            <ac:spMk id="2" creationId="{5B9DEB9D-0C9C-44A4-A148-152CCB3901EB}"/>
          </ac:spMkLst>
        </pc:spChg>
        <pc:spChg chg="del mod ord">
          <ac:chgData name="Gareth Allott" userId="d67bc1e7-5e6e-4540-bcf9-468a02f7a83e" providerId="ADAL" clId="{9695B0D8-2C51-4327-A5B2-1BA6FF0F509C}" dt="2021-04-08T10:00:10.627" v="3469" actId="700"/>
          <ac:spMkLst>
            <pc:docMk/>
            <pc:sldMk cId="76560753" sldId="2146845408"/>
            <ac:spMk id="3" creationId="{F20DE35B-5B35-40D6-84CB-65D49039120C}"/>
          </ac:spMkLst>
        </pc:spChg>
        <pc:spChg chg="del">
          <ac:chgData name="Gareth Allott" userId="d67bc1e7-5e6e-4540-bcf9-468a02f7a83e" providerId="ADAL" clId="{9695B0D8-2C51-4327-A5B2-1BA6FF0F509C}" dt="2021-04-08T10:00:10.627" v="3469" actId="700"/>
          <ac:spMkLst>
            <pc:docMk/>
            <pc:sldMk cId="76560753" sldId="2146845408"/>
            <ac:spMk id="4" creationId="{0E2545B6-0CE2-4E9F-8081-D927A6D7D42A}"/>
          </ac:spMkLst>
        </pc:spChg>
        <pc:spChg chg="add mod ord">
          <ac:chgData name="Gareth Allott" userId="d67bc1e7-5e6e-4540-bcf9-468a02f7a83e" providerId="ADAL" clId="{9695B0D8-2C51-4327-A5B2-1BA6FF0F509C}" dt="2021-04-08T10:01:04.578" v="3537" actId="404"/>
          <ac:spMkLst>
            <pc:docMk/>
            <pc:sldMk cId="76560753" sldId="2146845408"/>
            <ac:spMk id="5" creationId="{43CCD180-1996-443F-8FAD-22E82F35DB05}"/>
          </ac:spMkLst>
        </pc:spChg>
        <pc:spChg chg="add del mod ord">
          <ac:chgData name="Gareth Allott" userId="d67bc1e7-5e6e-4540-bcf9-468a02f7a83e" providerId="ADAL" clId="{9695B0D8-2C51-4327-A5B2-1BA6FF0F509C}" dt="2021-04-08T10:00:23.310" v="3473" actId="478"/>
          <ac:spMkLst>
            <pc:docMk/>
            <pc:sldMk cId="76560753" sldId="2146845408"/>
            <ac:spMk id="6" creationId="{755D92E7-C550-4304-8E21-D2F144486F32}"/>
          </ac:spMkLst>
        </pc:spChg>
        <pc:spChg chg="add mod">
          <ac:chgData name="Gareth Allott" userId="d67bc1e7-5e6e-4540-bcf9-468a02f7a83e" providerId="ADAL" clId="{9695B0D8-2C51-4327-A5B2-1BA6FF0F509C}" dt="2021-04-08T10:01:01.722" v="3527" actId="207"/>
          <ac:spMkLst>
            <pc:docMk/>
            <pc:sldMk cId="76560753" sldId="2146845408"/>
            <ac:spMk id="9" creationId="{A79A7C6F-F117-4A1A-99E2-EA9366997087}"/>
          </ac:spMkLst>
        </pc:spChg>
        <pc:spChg chg="add">
          <ac:chgData name="Gareth Allott" userId="d67bc1e7-5e6e-4540-bcf9-468a02f7a83e" providerId="ADAL" clId="{9695B0D8-2C51-4327-A5B2-1BA6FF0F509C}" dt="2021-04-08T10:00:57.537" v="3526" actId="11529"/>
          <ac:spMkLst>
            <pc:docMk/>
            <pc:sldMk cId="76560753" sldId="2146845408"/>
            <ac:spMk id="10" creationId="{92827809-8DA2-47E6-BE43-1E95334A43EB}"/>
          </ac:spMkLst>
        </pc:spChg>
        <pc:picChg chg="add mod">
          <ac:chgData name="Gareth Allott" userId="d67bc1e7-5e6e-4540-bcf9-468a02f7a83e" providerId="ADAL" clId="{9695B0D8-2C51-4327-A5B2-1BA6FF0F509C}" dt="2021-04-08T10:01:07.868" v="3549" actId="1037"/>
          <ac:picMkLst>
            <pc:docMk/>
            <pc:sldMk cId="76560753" sldId="2146845408"/>
            <ac:picMk id="8" creationId="{05E7995C-2E26-4EAB-80DB-91E20A878109}"/>
          </ac:picMkLst>
        </pc:picChg>
      </pc:sldChg>
      <pc:sldChg chg="addSp delSp modSp new mod">
        <pc:chgData name="Gareth Allott" userId="d67bc1e7-5e6e-4540-bcf9-468a02f7a83e" providerId="ADAL" clId="{9695B0D8-2C51-4327-A5B2-1BA6FF0F509C}" dt="2021-04-08T10:04:18.134" v="3684" actId="20577"/>
        <pc:sldMkLst>
          <pc:docMk/>
          <pc:sldMk cId="3056282091" sldId="2146845409"/>
        </pc:sldMkLst>
        <pc:spChg chg="mod">
          <ac:chgData name="Gareth Allott" userId="d67bc1e7-5e6e-4540-bcf9-468a02f7a83e" providerId="ADAL" clId="{9695B0D8-2C51-4327-A5B2-1BA6FF0F509C}" dt="2021-04-08T10:04:18.134" v="3684" actId="20577"/>
          <ac:spMkLst>
            <pc:docMk/>
            <pc:sldMk cId="3056282091" sldId="2146845409"/>
            <ac:spMk id="2" creationId="{262BE1AC-71CE-43A7-8C87-65DA87661748}"/>
          </ac:spMkLst>
        </pc:spChg>
        <pc:spChg chg="del">
          <ac:chgData name="Gareth Allott" userId="d67bc1e7-5e6e-4540-bcf9-468a02f7a83e" providerId="ADAL" clId="{9695B0D8-2C51-4327-A5B2-1BA6FF0F509C}" dt="2021-04-08T10:03:36.927" v="3646" actId="478"/>
          <ac:spMkLst>
            <pc:docMk/>
            <pc:sldMk cId="3056282091" sldId="2146845409"/>
            <ac:spMk id="3" creationId="{7466EFF6-CB75-4E7B-B6AC-B709772666F9}"/>
          </ac:spMkLst>
        </pc:spChg>
        <pc:spChg chg="add mod">
          <ac:chgData name="Gareth Allott" userId="d67bc1e7-5e6e-4540-bcf9-468a02f7a83e" providerId="ADAL" clId="{9695B0D8-2C51-4327-A5B2-1BA6FF0F509C}" dt="2021-04-08T10:04:10.136" v="3683" actId="207"/>
          <ac:spMkLst>
            <pc:docMk/>
            <pc:sldMk cId="3056282091" sldId="2146845409"/>
            <ac:spMk id="6" creationId="{E74F0B98-AD45-4DC6-B98C-203DC7A309F0}"/>
          </ac:spMkLst>
        </pc:spChg>
        <pc:picChg chg="add mod">
          <ac:chgData name="Gareth Allott" userId="d67bc1e7-5e6e-4540-bcf9-468a02f7a83e" providerId="ADAL" clId="{9695B0D8-2C51-4327-A5B2-1BA6FF0F509C}" dt="2021-04-08T10:03:52.708" v="3678" actId="1076"/>
          <ac:picMkLst>
            <pc:docMk/>
            <pc:sldMk cId="3056282091" sldId="2146845409"/>
            <ac:picMk id="5" creationId="{2F0E86BA-60F6-42CB-82F2-FF68775FAEEC}"/>
          </ac:picMkLst>
        </pc:picChg>
      </pc:sldChg>
      <pc:sldChg chg="addSp delSp modSp add mod">
        <pc:chgData name="Gareth Allott" userId="d67bc1e7-5e6e-4540-bcf9-468a02f7a83e" providerId="ADAL" clId="{9695B0D8-2C51-4327-A5B2-1BA6FF0F509C}" dt="2021-04-08T10:05:22.078" v="3756" actId="1076"/>
        <pc:sldMkLst>
          <pc:docMk/>
          <pc:sldMk cId="3734498627" sldId="2146845410"/>
        </pc:sldMkLst>
        <pc:spChg chg="mod">
          <ac:chgData name="Gareth Allott" userId="d67bc1e7-5e6e-4540-bcf9-468a02f7a83e" providerId="ADAL" clId="{9695B0D8-2C51-4327-A5B2-1BA6FF0F509C}" dt="2021-04-08T10:04:42.751" v="3752" actId="20577"/>
          <ac:spMkLst>
            <pc:docMk/>
            <pc:sldMk cId="3734498627" sldId="2146845410"/>
            <ac:spMk id="2" creationId="{938338AD-17ED-4994-9CD8-EE5C515756B1}"/>
          </ac:spMkLst>
        </pc:spChg>
        <pc:spChg chg="del">
          <ac:chgData name="Gareth Allott" userId="d67bc1e7-5e6e-4540-bcf9-468a02f7a83e" providerId="ADAL" clId="{9695B0D8-2C51-4327-A5B2-1BA6FF0F509C}" dt="2021-04-08T10:04:49.262" v="3753" actId="478"/>
          <ac:spMkLst>
            <pc:docMk/>
            <pc:sldMk cId="3734498627" sldId="2146845410"/>
            <ac:spMk id="10" creationId="{3900C6E9-36B6-4872-9CC6-FDF855348790}"/>
          </ac:spMkLst>
        </pc:spChg>
        <pc:spChg chg="del">
          <ac:chgData name="Gareth Allott" userId="d67bc1e7-5e6e-4540-bcf9-468a02f7a83e" providerId="ADAL" clId="{9695B0D8-2C51-4327-A5B2-1BA6FF0F509C}" dt="2021-04-08T10:04:49.262" v="3753" actId="478"/>
          <ac:spMkLst>
            <pc:docMk/>
            <pc:sldMk cId="3734498627" sldId="2146845410"/>
            <ac:spMk id="11" creationId="{CBEF8A9D-068B-414E-BF45-6329C47A92EB}"/>
          </ac:spMkLst>
        </pc:spChg>
        <pc:picChg chg="add mod">
          <ac:chgData name="Gareth Allott" userId="d67bc1e7-5e6e-4540-bcf9-468a02f7a83e" providerId="ADAL" clId="{9695B0D8-2C51-4327-A5B2-1BA6FF0F509C}" dt="2021-04-08T10:05:22.078" v="3756" actId="1076"/>
          <ac:picMkLst>
            <pc:docMk/>
            <pc:sldMk cId="3734498627" sldId="2146845410"/>
            <ac:picMk id="4" creationId="{7B8A22D2-C75E-4749-81B6-54D07B5C5DFD}"/>
          </ac:picMkLst>
        </pc:picChg>
        <pc:picChg chg="del">
          <ac:chgData name="Gareth Allott" userId="d67bc1e7-5e6e-4540-bcf9-468a02f7a83e" providerId="ADAL" clId="{9695B0D8-2C51-4327-A5B2-1BA6FF0F509C}" dt="2021-04-08T10:04:50.553" v="3754" actId="478"/>
          <ac:picMkLst>
            <pc:docMk/>
            <pc:sldMk cId="3734498627" sldId="2146845410"/>
            <ac:picMk id="7" creationId="{DF20063A-3BA8-440B-A3E3-C8DAB7B767C3}"/>
          </ac:picMkLst>
        </pc:picChg>
      </pc:sldChg>
      <pc:sldChg chg="addSp delSp modSp new mod modClrScheme chgLayout">
        <pc:chgData name="Gareth Allott" userId="d67bc1e7-5e6e-4540-bcf9-468a02f7a83e" providerId="ADAL" clId="{9695B0D8-2C51-4327-A5B2-1BA6FF0F509C}" dt="2021-04-22T14:28:52.790" v="4334" actId="20577"/>
        <pc:sldMkLst>
          <pc:docMk/>
          <pc:sldMk cId="1308657037" sldId="2146845411"/>
        </pc:sldMkLst>
        <pc:spChg chg="del mod ord">
          <ac:chgData name="Gareth Allott" userId="d67bc1e7-5e6e-4540-bcf9-468a02f7a83e" providerId="ADAL" clId="{9695B0D8-2C51-4327-A5B2-1BA6FF0F509C}" dt="2021-04-08T10:05:35.374" v="3758" actId="700"/>
          <ac:spMkLst>
            <pc:docMk/>
            <pc:sldMk cId="1308657037" sldId="2146845411"/>
            <ac:spMk id="2" creationId="{2B3266B6-DBD7-45CA-807E-76F398AFB7F5}"/>
          </ac:spMkLst>
        </pc:spChg>
        <pc:spChg chg="del mod ord">
          <ac:chgData name="Gareth Allott" userId="d67bc1e7-5e6e-4540-bcf9-468a02f7a83e" providerId="ADAL" clId="{9695B0D8-2C51-4327-A5B2-1BA6FF0F509C}" dt="2021-04-08T10:05:35.374" v="3758" actId="700"/>
          <ac:spMkLst>
            <pc:docMk/>
            <pc:sldMk cId="1308657037" sldId="2146845411"/>
            <ac:spMk id="3" creationId="{608FBCEB-40C5-4BCB-BD73-003C6ECC79FE}"/>
          </ac:spMkLst>
        </pc:spChg>
        <pc:spChg chg="del">
          <ac:chgData name="Gareth Allott" userId="d67bc1e7-5e6e-4540-bcf9-468a02f7a83e" providerId="ADAL" clId="{9695B0D8-2C51-4327-A5B2-1BA6FF0F509C}" dt="2021-04-08T10:05:35.374" v="3758" actId="700"/>
          <ac:spMkLst>
            <pc:docMk/>
            <pc:sldMk cId="1308657037" sldId="2146845411"/>
            <ac:spMk id="4" creationId="{A84FF7D5-D2F4-4FC2-9BBD-FD5C892C8CD8}"/>
          </ac:spMkLst>
        </pc:spChg>
        <pc:spChg chg="add del mod ord">
          <ac:chgData name="Gareth Allott" userId="d67bc1e7-5e6e-4540-bcf9-468a02f7a83e" providerId="ADAL" clId="{9695B0D8-2C51-4327-A5B2-1BA6FF0F509C}" dt="2021-04-08T10:05:59.594" v="3798" actId="478"/>
          <ac:spMkLst>
            <pc:docMk/>
            <pc:sldMk cId="1308657037" sldId="2146845411"/>
            <ac:spMk id="5" creationId="{1FA488D5-717F-4EB3-8FA0-66D158603A82}"/>
          </ac:spMkLst>
        </pc:spChg>
        <pc:spChg chg="add mod ord">
          <ac:chgData name="Gareth Allott" userId="d67bc1e7-5e6e-4540-bcf9-468a02f7a83e" providerId="ADAL" clId="{9695B0D8-2C51-4327-A5B2-1BA6FF0F509C}" dt="2021-04-08T10:24:56.570" v="4313" actId="20577"/>
          <ac:spMkLst>
            <pc:docMk/>
            <pc:sldMk cId="1308657037" sldId="2146845411"/>
            <ac:spMk id="6" creationId="{EA153DB6-7F7D-461E-929E-9080F17EADD8}"/>
          </ac:spMkLst>
        </pc:spChg>
        <pc:spChg chg="add mod">
          <ac:chgData name="Gareth Allott" userId="d67bc1e7-5e6e-4540-bcf9-468a02f7a83e" providerId="ADAL" clId="{9695B0D8-2C51-4327-A5B2-1BA6FF0F509C}" dt="2021-04-22T14:28:52.790" v="4334" actId="20577"/>
          <ac:spMkLst>
            <pc:docMk/>
            <pc:sldMk cId="1308657037" sldId="2146845411"/>
            <ac:spMk id="7" creationId="{4A91BD2B-0129-40EF-BB69-B636DB8587DB}"/>
          </ac:spMkLst>
        </pc:spChg>
        <pc:spChg chg="add mod">
          <ac:chgData name="Gareth Allott" userId="d67bc1e7-5e6e-4540-bcf9-468a02f7a83e" providerId="ADAL" clId="{9695B0D8-2C51-4327-A5B2-1BA6FF0F509C}" dt="2021-04-08T10:25:04.427" v="4331" actId="20577"/>
          <ac:spMkLst>
            <pc:docMk/>
            <pc:sldMk cId="1308657037" sldId="2146845411"/>
            <ac:spMk id="8" creationId="{FBAA7AEE-B559-4F54-B5B8-CBF27E302B0B}"/>
          </ac:spMkLst>
        </pc:spChg>
      </pc:sldChg>
      <pc:sldChg chg="addSp delSp modSp new mod">
        <pc:chgData name="Gareth Allott" userId="d67bc1e7-5e6e-4540-bcf9-468a02f7a83e" providerId="ADAL" clId="{9695B0D8-2C51-4327-A5B2-1BA6FF0F509C}" dt="2021-04-08T10:07:19.775" v="3880" actId="1076"/>
        <pc:sldMkLst>
          <pc:docMk/>
          <pc:sldMk cId="4113431382" sldId="2146845412"/>
        </pc:sldMkLst>
        <pc:spChg chg="del">
          <ac:chgData name="Gareth Allott" userId="d67bc1e7-5e6e-4540-bcf9-468a02f7a83e" providerId="ADAL" clId="{9695B0D8-2C51-4327-A5B2-1BA6FF0F509C}" dt="2021-04-08T10:06:25.791" v="3800" actId="478"/>
          <ac:spMkLst>
            <pc:docMk/>
            <pc:sldMk cId="4113431382" sldId="2146845412"/>
            <ac:spMk id="2" creationId="{D28EFFC3-4BA4-4326-9437-C1C33337B84B}"/>
          </ac:spMkLst>
        </pc:spChg>
        <pc:spChg chg="del">
          <ac:chgData name="Gareth Allott" userId="d67bc1e7-5e6e-4540-bcf9-468a02f7a83e" providerId="ADAL" clId="{9695B0D8-2C51-4327-A5B2-1BA6FF0F509C}" dt="2021-04-08T10:06:25.791" v="3800" actId="478"/>
          <ac:spMkLst>
            <pc:docMk/>
            <pc:sldMk cId="4113431382" sldId="2146845412"/>
            <ac:spMk id="3" creationId="{D4C572DE-FF5D-48E6-B1B3-1816B5EB769E}"/>
          </ac:spMkLst>
        </pc:spChg>
        <pc:spChg chg="add mod">
          <ac:chgData name="Gareth Allott" userId="d67bc1e7-5e6e-4540-bcf9-468a02f7a83e" providerId="ADAL" clId="{9695B0D8-2C51-4327-A5B2-1BA6FF0F509C}" dt="2021-04-08T10:07:19.775" v="3880" actId="1076"/>
          <ac:spMkLst>
            <pc:docMk/>
            <pc:sldMk cId="4113431382" sldId="2146845412"/>
            <ac:spMk id="5" creationId="{16714764-B698-4F5F-A170-2BCF0B1F5DC6}"/>
          </ac:spMkLst>
        </pc:spChg>
        <pc:spChg chg="add mod">
          <ac:chgData name="Gareth Allott" userId="d67bc1e7-5e6e-4540-bcf9-468a02f7a83e" providerId="ADAL" clId="{9695B0D8-2C51-4327-A5B2-1BA6FF0F509C}" dt="2021-04-08T10:07:19.775" v="3880" actId="1076"/>
          <ac:spMkLst>
            <pc:docMk/>
            <pc:sldMk cId="4113431382" sldId="2146845412"/>
            <ac:spMk id="7" creationId="{89C56123-1CF4-4F89-B7BC-8503C49E414F}"/>
          </ac:spMkLst>
        </pc:spChg>
        <pc:picChg chg="add mod">
          <ac:chgData name="Gareth Allott" userId="d67bc1e7-5e6e-4540-bcf9-468a02f7a83e" providerId="ADAL" clId="{9695B0D8-2C51-4327-A5B2-1BA6FF0F509C}" dt="2021-04-08T10:07:19.775" v="3880" actId="1076"/>
          <ac:picMkLst>
            <pc:docMk/>
            <pc:sldMk cId="4113431382" sldId="2146845412"/>
            <ac:picMk id="6" creationId="{25DE21FD-2AD0-4C6F-B02B-A46F415CB293}"/>
          </ac:picMkLst>
        </pc:picChg>
      </pc:sldChg>
      <pc:sldChg chg="ord">
        <pc:chgData name="Gareth Allott" userId="d67bc1e7-5e6e-4540-bcf9-468a02f7a83e" providerId="ADAL" clId="{9695B0D8-2C51-4327-A5B2-1BA6FF0F509C}" dt="2021-04-28T17:18:46.266" v="4336"/>
        <pc:sldMkLst>
          <pc:docMk/>
          <pc:sldMk cId="458778126" sldId="2146845460"/>
        </pc:sldMkLst>
      </pc:sldChg>
      <pc:sldChg chg="ord">
        <pc:chgData name="Gareth Allott" userId="d67bc1e7-5e6e-4540-bcf9-468a02f7a83e" providerId="ADAL" clId="{9695B0D8-2C51-4327-A5B2-1BA6FF0F509C}" dt="2021-04-28T17:18:46.266" v="4336"/>
        <pc:sldMkLst>
          <pc:docMk/>
          <pc:sldMk cId="3435418820" sldId="2146845461"/>
        </pc:sldMkLst>
      </pc:sldChg>
      <pc:sldMasterChg chg="delSp mod">
        <pc:chgData name="Gareth Allott" userId="d67bc1e7-5e6e-4540-bcf9-468a02f7a83e" providerId="ADAL" clId="{9695B0D8-2C51-4327-A5B2-1BA6FF0F509C}" dt="2021-04-08T09:27:59.029" v="906" actId="478"/>
        <pc:sldMasterMkLst>
          <pc:docMk/>
          <pc:sldMasterMk cId="1120274221" sldId="2147483660"/>
        </pc:sldMasterMkLst>
        <pc:spChg chg="del">
          <ac:chgData name="Gareth Allott" userId="d67bc1e7-5e6e-4540-bcf9-468a02f7a83e" providerId="ADAL" clId="{9695B0D8-2C51-4327-A5B2-1BA6FF0F509C}" dt="2021-04-08T09:27:59.029" v="906" actId="478"/>
          <ac:spMkLst>
            <pc:docMk/>
            <pc:sldMasterMk cId="1120274221" sldId="2147483660"/>
            <ac:spMk id="3" creationId="{FF5AB9D8-6642-5B49-89E9-A48CDE62CA56}"/>
          </ac:spMkLst>
        </pc:spChg>
      </pc:sldMasterChg>
      <pc:sldMasterChg chg="delSldLayout">
        <pc:chgData name="Gareth Allott" userId="d67bc1e7-5e6e-4540-bcf9-468a02f7a83e" providerId="ADAL" clId="{9695B0D8-2C51-4327-A5B2-1BA6FF0F509C}" dt="2021-04-08T09:36:45.616" v="1915" actId="47"/>
        <pc:sldMasterMkLst>
          <pc:docMk/>
          <pc:sldMasterMk cId="49750242" sldId="2147483691"/>
        </pc:sldMasterMkLst>
        <pc:sldLayoutChg chg="del">
          <pc:chgData name="Gareth Allott" userId="d67bc1e7-5e6e-4540-bcf9-468a02f7a83e" providerId="ADAL" clId="{9695B0D8-2C51-4327-A5B2-1BA6FF0F509C}" dt="2021-04-08T09:36:45.616" v="1915" actId="47"/>
          <pc:sldLayoutMkLst>
            <pc:docMk/>
            <pc:sldMasterMk cId="49750242" sldId="2147483691"/>
            <pc:sldLayoutMk cId="1930717147" sldId="2147483708"/>
          </pc:sldLayoutMkLst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01146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933875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74387192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632116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577443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134993"/>
      </p:ext>
    </p:extLst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21488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83866659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8086723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44553233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108055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169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8196495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395168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735089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200014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170905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39371121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83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8972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709884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77060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747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4719483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129846"/>
      </p:ext>
    </p:extLst>
  </p:cSld>
  <p:clrMapOvr>
    <a:masterClrMapping/>
  </p:clrMapOvr>
  <p:transition>
    <p:wipe dir="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45347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0625869"/>
      </p:ext>
    </p:extLst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172123"/>
      </p:ext>
    </p:extLst>
  </p:cSld>
  <p:clrMapOvr>
    <a:masterClrMapping/>
  </p:clrMapOvr>
  <p:transition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42730280"/>
      </p:ext>
    </p:extLst>
  </p:cSld>
  <p:clrMapOvr>
    <a:masterClrMapping/>
  </p:clrMapOvr>
  <p:transition>
    <p:wipe dir="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02597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41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59761"/>
      </p:ext>
    </p:extLst>
  </p:cSld>
  <p:clrMapOvr>
    <a:masterClrMapping/>
  </p:clrMapOvr>
  <p:transition>
    <p:wipe dir="d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106518"/>
      </p:ext>
    </p:extLst>
  </p:cSld>
  <p:clrMapOvr>
    <a:masterClrMapping/>
  </p:clrMapOvr>
  <p:transition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329919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816952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2444922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15576838"/>
      </p:ext>
    </p:extLst>
  </p:cSld>
  <p:clrMapOvr>
    <a:masterClrMapping/>
  </p:clrMapOvr>
  <p:transition>
    <p:wipe dir="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570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581206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900162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8802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537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81016"/>
      </p:ext>
    </p:extLst>
  </p:cSld>
  <p:clrMapOvr>
    <a:masterClrMapping/>
  </p:clrMapOvr>
  <p:transition>
    <p:wipe dir="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52651168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6036254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66467048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463874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1364630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57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905834"/>
      </p:ext>
    </p:extLst>
  </p:cSld>
  <p:clrMapOvr>
    <a:masterClrMapping/>
  </p:clrMapOvr>
  <p:transition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092754"/>
      </p:ext>
    </p:extLst>
  </p:cSld>
  <p:clrMapOvr>
    <a:masterClrMapping/>
  </p:clrMapOvr>
  <p:transition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02743"/>
      </p:ext>
    </p:extLst>
  </p:cSld>
  <p:clrMapOvr>
    <a:masterClrMapping/>
  </p:clrMapOvr>
  <p:transition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460804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75928158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48488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92175482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53893869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2697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76CE-4997-4388-98CC-76C31CDB8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D5A07E-73E7-48C3-8F3E-5C881E4F2A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6437B-1180-42FB-88F6-5B92C1CD0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29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26464-82E3-4EBD-A33B-C3D35D819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90A36C-B07D-4F24-B78A-82FEC6C8E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1723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04E50-790F-004D-A3FC-F1A2CCAC1708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80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186928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086169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667220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274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6585238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705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20859548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50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417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5" Type="http://schemas.openxmlformats.org/officeDocument/2006/relationships/image" Target="../media/image23.png"/><Relationship Id="rId10" Type="http://schemas.openxmlformats.org/officeDocument/2006/relationships/image" Target="../media/image27.png"/><Relationship Id="rId4" Type="http://schemas.openxmlformats.org/officeDocument/2006/relationships/image" Target="../media/image22.png"/><Relationship Id="rId9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custellence.com/app/public/43208111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veevasys.sharepoint.com/:x:/s/EuropeanBusinessConsulting/EY2IWn8gMcdCmkVw0m_e3ysBvFHqOZg1mOanIzOSMFkXew?e=J9gMhz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ing th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accent1"/>
                </a:solidFill>
                <a:latin typeface="Tahoma"/>
              </a:rPr>
              <a:t>HCP Journey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pril 2021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532122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BA8C68-DCD7-4B48-A375-E4C7A4836749}"/>
              </a:ext>
            </a:extLst>
          </p:cNvPr>
          <p:cNvSpPr/>
          <p:nvPr/>
        </p:nvSpPr>
        <p:spPr bwMode="auto">
          <a:xfrm>
            <a:off x="213064" y="1704513"/>
            <a:ext cx="4526536" cy="49025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622D44-E85F-442B-90A1-C8DBB4CFBC9E}"/>
              </a:ext>
            </a:extLst>
          </p:cNvPr>
          <p:cNvSpPr/>
          <p:nvPr/>
        </p:nvSpPr>
        <p:spPr bwMode="auto">
          <a:xfrm>
            <a:off x="5498980" y="1704513"/>
            <a:ext cx="2845248" cy="49025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HCP Journey Compon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F285E-1361-4421-8B6D-7D3A1B4C56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42809" y="857250"/>
            <a:ext cx="10806722" cy="914400"/>
          </a:xfrm>
        </p:spPr>
        <p:txBody>
          <a:bodyPr/>
          <a:lstStyle/>
          <a:p>
            <a:pPr marL="0" indent="0">
              <a:buNone/>
            </a:pPr>
            <a:r>
              <a:rPr lang="en-GB" sz="2000"/>
              <a:t>In order to accelerate the creation of the journeys, in our experience it is valuable to first discuss the constituents of the Journeys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02CE04-681A-4EEF-A4BA-B0BE6EBFD2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952" t="1417" r="8806" b="5842"/>
          <a:stretch/>
        </p:blipFill>
        <p:spPr>
          <a:xfrm>
            <a:off x="379634" y="5282065"/>
            <a:ext cx="2957137" cy="119493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8863E9F-875E-4A5C-8AEA-81A54C988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34" y="3879787"/>
            <a:ext cx="2280502" cy="127081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2" name="Picture 11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D0EF9D72-D2CC-4A1A-95F4-0B551269BE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2" y="1954170"/>
            <a:ext cx="418005" cy="418005"/>
          </a:xfrm>
          <a:prstGeom prst="rect">
            <a:avLst/>
          </a:prstGeom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E1EB5DA-2A38-472B-8ADF-BFF40D839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532" y="2445909"/>
            <a:ext cx="418005" cy="418005"/>
          </a:xfrm>
          <a:prstGeom prst="rect">
            <a:avLst/>
          </a:prstGeom>
        </p:spPr>
      </p:pic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88A6B8C1-865E-4658-8365-AD53D225C6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726" y="1954170"/>
            <a:ext cx="418005" cy="4180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076A990-2978-4A0F-AFF1-8E59289505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26" y="2445909"/>
            <a:ext cx="418005" cy="41800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0727590-9454-4C89-B7B5-4674C87606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440" y="2987738"/>
            <a:ext cx="983328" cy="77689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AB110A-470F-485C-9A5E-0F552A3408C6}"/>
              </a:ext>
            </a:extLst>
          </p:cNvPr>
          <p:cNvSpPr txBox="1"/>
          <p:nvPr/>
        </p:nvSpPr>
        <p:spPr>
          <a:xfrm>
            <a:off x="1369884" y="2260483"/>
            <a:ext cx="1432589" cy="31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9518C3-A9D7-4784-AB78-6820C08D3001}"/>
              </a:ext>
            </a:extLst>
          </p:cNvPr>
          <p:cNvSpPr txBox="1"/>
          <p:nvPr/>
        </p:nvSpPr>
        <p:spPr>
          <a:xfrm>
            <a:off x="1519885" y="3151847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al 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A03A7B-35EA-460C-974C-36263B9AE30A}"/>
              </a:ext>
            </a:extLst>
          </p:cNvPr>
          <p:cNvSpPr txBox="1"/>
          <p:nvPr/>
        </p:nvSpPr>
        <p:spPr>
          <a:xfrm>
            <a:off x="2802917" y="4379611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22F910-EF63-43EA-BB20-AB1F25E1D127}"/>
              </a:ext>
            </a:extLst>
          </p:cNvPr>
          <p:cNvSpPr txBox="1"/>
          <p:nvPr/>
        </p:nvSpPr>
        <p:spPr>
          <a:xfrm>
            <a:off x="3471586" y="5769917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&amp; Channels</a:t>
            </a:r>
          </a:p>
        </p:txBody>
      </p:sp>
      <p:sp>
        <p:nvSpPr>
          <p:cNvPr id="20" name="Plus Sign 19">
            <a:extLst>
              <a:ext uri="{FF2B5EF4-FFF2-40B4-BE49-F238E27FC236}">
                <a16:creationId xmlns:a16="http://schemas.microsoft.com/office/drawing/2014/main" id="{92956D50-6992-4AB7-988A-A71362AC1A42}"/>
              </a:ext>
            </a:extLst>
          </p:cNvPr>
          <p:cNvSpPr/>
          <p:nvPr/>
        </p:nvSpPr>
        <p:spPr bwMode="auto">
          <a:xfrm>
            <a:off x="4710110" y="3204930"/>
            <a:ext cx="826225" cy="867983"/>
          </a:xfrm>
          <a:prstGeom prst="mathPlus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884409-2604-4F13-9C41-EA4D7AC1AE35}"/>
              </a:ext>
            </a:extLst>
          </p:cNvPr>
          <p:cNvSpPr txBox="1"/>
          <p:nvPr/>
        </p:nvSpPr>
        <p:spPr>
          <a:xfrm>
            <a:off x="6156679" y="1797125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 Scenario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EDC07D-51D5-4337-B866-0CC0A69A1C32}"/>
              </a:ext>
            </a:extLst>
          </p:cNvPr>
          <p:cNvSpPr txBox="1"/>
          <p:nvPr/>
        </p:nvSpPr>
        <p:spPr>
          <a:xfrm>
            <a:off x="6129559" y="3801297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ey eve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EF90F7-9D6D-4885-BE6A-9B2DF4E87A44}"/>
              </a:ext>
            </a:extLst>
          </p:cNvPr>
          <p:cNvSpPr txBox="1"/>
          <p:nvPr/>
        </p:nvSpPr>
        <p:spPr>
          <a:xfrm>
            <a:off x="6156679" y="5692615"/>
            <a:ext cx="15758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“Moments of Truth”</a:t>
            </a:r>
          </a:p>
        </p:txBody>
      </p:sp>
      <p:sp>
        <p:nvSpPr>
          <p:cNvPr id="26" name="Equals 25">
            <a:extLst>
              <a:ext uri="{FF2B5EF4-FFF2-40B4-BE49-F238E27FC236}">
                <a16:creationId xmlns:a16="http://schemas.microsoft.com/office/drawing/2014/main" id="{CD9BD04D-1FCC-4680-BBD6-3AD7D47C559F}"/>
              </a:ext>
            </a:extLst>
          </p:cNvPr>
          <p:cNvSpPr/>
          <p:nvPr/>
        </p:nvSpPr>
        <p:spPr bwMode="auto">
          <a:xfrm>
            <a:off x="8421283" y="3411743"/>
            <a:ext cx="1017282" cy="555949"/>
          </a:xfrm>
          <a:prstGeom prst="mathEqual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27" name="Picture 26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80D73945-F3FB-496B-B6C5-2A24795A63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1894" y="3204930"/>
            <a:ext cx="2321724" cy="148779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F4E75E4-6AE1-401C-8C73-CB4EB2076EB2}"/>
              </a:ext>
            </a:extLst>
          </p:cNvPr>
          <p:cNvSpPr txBox="1"/>
          <p:nvPr/>
        </p:nvSpPr>
        <p:spPr>
          <a:xfrm>
            <a:off x="9884832" y="2863392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s</a:t>
            </a:r>
          </a:p>
        </p:txBody>
      </p:sp>
      <p:pic>
        <p:nvPicPr>
          <p:cNvPr id="29" name="Picture 28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2AA4F710-2B3F-486C-85A7-DBDA5422E10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5933528" y="4098277"/>
            <a:ext cx="1967908" cy="1257082"/>
          </a:xfrm>
          <a:prstGeom prst="rect">
            <a:avLst/>
          </a:prstGeom>
        </p:spPr>
      </p:pic>
      <p:pic>
        <p:nvPicPr>
          <p:cNvPr id="31" name="Picture 30" descr="A group of people on a stage&#10;&#10;Description automatically generated with low confidence">
            <a:extLst>
              <a:ext uri="{FF2B5EF4-FFF2-40B4-BE49-F238E27FC236}">
                <a16:creationId xmlns:a16="http://schemas.microsoft.com/office/drawing/2014/main" id="{E34B8186-3CBC-4355-BC2E-80EB4434092A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49" t="70681" r="4518"/>
          <a:stretch/>
        </p:blipFill>
        <p:spPr>
          <a:xfrm>
            <a:off x="6075780" y="2175126"/>
            <a:ext cx="1784897" cy="134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7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HCP Journey Scenario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F285E-1361-4421-8B6D-7D3A1B4C56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42809" y="857250"/>
            <a:ext cx="9564166" cy="914400"/>
          </a:xfrm>
        </p:spPr>
        <p:txBody>
          <a:bodyPr/>
          <a:lstStyle/>
          <a:p>
            <a:pPr marL="0" indent="0">
              <a:buNone/>
            </a:pPr>
            <a:r>
              <a:rPr lang="en-GB" sz="2000" b="1">
                <a:solidFill>
                  <a:schemeClr val="bg2"/>
                </a:solidFill>
              </a:rPr>
              <a:t>We can create HCP Journeys based on different categories or </a:t>
            </a:r>
            <a:r>
              <a:rPr lang="en-GB" sz="2000" b="1" i="1">
                <a:solidFill>
                  <a:schemeClr val="bg2"/>
                </a:solidFill>
              </a:rPr>
              <a:t>Scenarios, for example:</a:t>
            </a:r>
          </a:p>
        </p:txBody>
      </p:sp>
      <p:sp>
        <p:nvSpPr>
          <p:cNvPr id="29" name="Round Single Corner Rectangle 1">
            <a:extLst>
              <a:ext uri="{FF2B5EF4-FFF2-40B4-BE49-F238E27FC236}">
                <a16:creationId xmlns:a16="http://schemas.microsoft.com/office/drawing/2014/main" id="{E8CC11C8-CCFB-49BC-9E57-55571375C5BF}"/>
              </a:ext>
            </a:extLst>
          </p:cNvPr>
          <p:cNvSpPr/>
          <p:nvPr/>
        </p:nvSpPr>
        <p:spPr>
          <a:xfrm flipH="1">
            <a:off x="2172916" y="2413480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Rep-Driven</a:t>
            </a:r>
          </a:p>
        </p:txBody>
      </p:sp>
      <p:sp>
        <p:nvSpPr>
          <p:cNvPr id="30" name="Round Single Corner Rectangle 1">
            <a:extLst>
              <a:ext uri="{FF2B5EF4-FFF2-40B4-BE49-F238E27FC236}">
                <a16:creationId xmlns:a16="http://schemas.microsoft.com/office/drawing/2014/main" id="{06A31EF5-4483-40ED-BABF-2A850A9D0C14}"/>
              </a:ext>
            </a:extLst>
          </p:cNvPr>
          <p:cNvSpPr/>
          <p:nvPr/>
        </p:nvSpPr>
        <p:spPr>
          <a:xfrm flipH="1">
            <a:off x="4583010" y="2413484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HCP-Driven</a:t>
            </a:r>
          </a:p>
        </p:txBody>
      </p:sp>
      <p:sp>
        <p:nvSpPr>
          <p:cNvPr id="31" name="Round Single Corner Rectangle 1">
            <a:extLst>
              <a:ext uri="{FF2B5EF4-FFF2-40B4-BE49-F238E27FC236}">
                <a16:creationId xmlns:a16="http://schemas.microsoft.com/office/drawing/2014/main" id="{216FEA9B-D653-40EF-9189-3B54DF33124D}"/>
              </a:ext>
            </a:extLst>
          </p:cNvPr>
          <p:cNvSpPr/>
          <p:nvPr/>
        </p:nvSpPr>
        <p:spPr>
          <a:xfrm flipH="1">
            <a:off x="6993104" y="2413483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Event-Driven</a:t>
            </a:r>
          </a:p>
        </p:txBody>
      </p:sp>
      <p:pic>
        <p:nvPicPr>
          <p:cNvPr id="32" name="Picture 31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26F32E38-332F-47D3-82EF-016DEC51D5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" t="53710" r="74297" b="8871"/>
          <a:stretch/>
        </p:blipFill>
        <p:spPr>
          <a:xfrm>
            <a:off x="2206873" y="3389421"/>
            <a:ext cx="2188491" cy="1357486"/>
          </a:xfrm>
          <a:prstGeom prst="rect">
            <a:avLst/>
          </a:prstGeom>
        </p:spPr>
      </p:pic>
      <p:pic>
        <p:nvPicPr>
          <p:cNvPr id="33" name="Picture 32" descr="A picture containing wall, skiing, different, various&#10;&#10;Description automatically generated">
            <a:extLst>
              <a:ext uri="{FF2B5EF4-FFF2-40B4-BE49-F238E27FC236}">
                <a16:creationId xmlns:a16="http://schemas.microsoft.com/office/drawing/2014/main" id="{A847BA4D-1125-4C5F-A358-7FCDFF32C9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68" t="73750" r="35678" b="6591"/>
          <a:stretch/>
        </p:blipFill>
        <p:spPr>
          <a:xfrm>
            <a:off x="4470721" y="3616600"/>
            <a:ext cx="2326057" cy="1137094"/>
          </a:xfrm>
          <a:prstGeom prst="rect">
            <a:avLst/>
          </a:prstGeom>
        </p:spPr>
      </p:pic>
      <p:pic>
        <p:nvPicPr>
          <p:cNvPr id="34" name="Picture 33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27B860CC-CFCC-42B5-8AF4-CC96A75601C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6938426" y="3399542"/>
            <a:ext cx="2243169" cy="143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41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E17010F-43DB-4FF0-9EF2-5FC72E58BC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HCP Journey Design</a:t>
            </a:r>
          </a:p>
        </p:txBody>
      </p:sp>
    </p:spTree>
    <p:extLst>
      <p:ext uri="{BB962C8B-B14F-4D97-AF65-F5344CB8AC3E}">
        <p14:creationId xmlns:p14="http://schemas.microsoft.com/office/powerpoint/2010/main" val="300193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153DB6-7F7D-461E-929E-9080F17EADD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773237"/>
            <a:ext cx="4625100" cy="4256087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What the HCP Journeys are</a:t>
            </a:r>
          </a:p>
          <a:p>
            <a:r>
              <a:rPr lang="en-GB" sz="2000" dirty="0"/>
              <a:t>Representations of ways to drive a flow of continued engagement, leveraging the core channels and content</a:t>
            </a:r>
          </a:p>
          <a:p>
            <a:r>
              <a:rPr lang="en-GB" sz="2000" dirty="0"/>
              <a:t>Guidance for connecting channels</a:t>
            </a:r>
          </a:p>
          <a:p>
            <a:r>
              <a:rPr lang="en-GB" sz="2000" dirty="0"/>
              <a:t>Going to be localised to each market based on market channels, content, scenarios and preferenc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4A91BD2B-0129-40EF-BB69-B636DB8587DB}"/>
              </a:ext>
            </a:extLst>
          </p:cNvPr>
          <p:cNvSpPr txBox="1">
            <a:spLocks/>
          </p:cNvSpPr>
          <p:nvPr/>
        </p:nvSpPr>
        <p:spPr bwMode="auto">
          <a:xfrm>
            <a:off x="6096000" y="1773236"/>
            <a:ext cx="4625100" cy="458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 baseline="0">
                <a:solidFill>
                  <a:srgbClr val="000000"/>
                </a:solidFill>
                <a:latin typeface="Tahoma" pitchFamily="34" charset="0"/>
                <a:ea typeface="ＭＳ Ｐゴシック" pitchFamily="-107" charset="-128"/>
                <a:cs typeface="ＭＳ Ｐゴシック"/>
              </a:defRPr>
            </a:lvl2pPr>
            <a:lvl3pPr marL="806412" indent="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95367" indent="-28575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2081113" indent="-285737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110000"/>
              <a:buFont typeface="Arial" charset="0"/>
              <a:buChar char="•"/>
              <a:tabLst>
                <a:tab pos="973091" algn="l"/>
                <a:tab pos="1481067" algn="l"/>
              </a:tabLst>
              <a:defRPr sz="16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kern="0" dirty="0"/>
              <a:t>What the HCP Journeys aren’t</a:t>
            </a:r>
          </a:p>
          <a:p>
            <a:pPr marL="342900" marR="0" lvl="0" indent="-34290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Tx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ＭＳ Ｐゴシック" pitchFamily="-107" charset="-128"/>
              </a:rPr>
              <a:t>The exact, granular touchpoints for all reps interactions with HCP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kern="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AA7AEE-B559-4F54-B5B8-CBF27E302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 dirty="0"/>
              <a:t>Journeys Overview</a:t>
            </a:r>
          </a:p>
        </p:txBody>
      </p:sp>
    </p:spTree>
    <p:extLst>
      <p:ext uri="{BB962C8B-B14F-4D97-AF65-F5344CB8AC3E}">
        <p14:creationId xmlns:p14="http://schemas.microsoft.com/office/powerpoint/2010/main" val="1308657037"/>
      </p:ext>
    </p:extLst>
  </p:cSld>
  <p:clrMapOvr>
    <a:masterClrMapping/>
  </p:clrMapOvr>
  <p:transition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3CCD180-1996-443F-8FAD-22E82F35D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187" y="1914873"/>
            <a:ext cx="2416157" cy="1296987"/>
          </a:xfrm>
        </p:spPr>
        <p:txBody>
          <a:bodyPr/>
          <a:lstStyle/>
          <a:p>
            <a:r>
              <a:rPr lang="en-GB" sz="3200" dirty="0"/>
              <a:t>The Journey Map Templ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E7995C-2E26-4EAB-80DB-91E20A878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6391" y="321630"/>
            <a:ext cx="9184441" cy="58565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9A7C6F-F117-4A1A-99E2-EA9366997087}"/>
              </a:ext>
            </a:extLst>
          </p:cNvPr>
          <p:cNvSpPr txBox="1"/>
          <p:nvPr/>
        </p:nvSpPr>
        <p:spPr>
          <a:xfrm>
            <a:off x="336187" y="5808832"/>
            <a:ext cx="2141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Detail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92827809-8DA2-47E6-BE43-1E95334A43EB}"/>
              </a:ext>
            </a:extLst>
          </p:cNvPr>
          <p:cNvSpPr/>
          <p:nvPr/>
        </p:nvSpPr>
        <p:spPr bwMode="auto">
          <a:xfrm>
            <a:off x="1417320" y="5760720"/>
            <a:ext cx="384048" cy="1014984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60753"/>
      </p:ext>
    </p:extLst>
  </p:cSld>
  <p:clrMapOvr>
    <a:masterClrMapping/>
  </p:clrMapOvr>
  <p:transition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have defined different box typ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83362-FB0D-44A1-82D1-04C3DA717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2685" y="2394379"/>
            <a:ext cx="1419225" cy="9429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323DC2-2776-4E6B-9CFF-BEDABC0E05ED}"/>
              </a:ext>
            </a:extLst>
          </p:cNvPr>
          <p:cNvSpPr txBox="1"/>
          <p:nvPr/>
        </p:nvSpPr>
        <p:spPr>
          <a:xfrm>
            <a:off x="912685" y="1372130"/>
            <a:ext cx="48308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Channel boxes are arrow-shaped and the type demonstrated by the box icon/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BF50DD-0C17-4339-8E9B-096C40A6F7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8366" y="2408666"/>
            <a:ext cx="1447800" cy="914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62F298A-43A9-4435-BF94-9064D9BCF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6698" y="2394379"/>
            <a:ext cx="1400175" cy="91440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5B79475-0469-4C5C-B1FD-F89D67A467F5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 flipH="1">
            <a:off x="2331910" y="2018461"/>
            <a:ext cx="996220" cy="39020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B62919F-E8EC-4BFA-A048-8D499FDBE5AE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3328130" y="2018461"/>
            <a:ext cx="423005" cy="2858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6B0C77B-E57E-44E2-9289-8D9EE3105CC4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3328130" y="2018461"/>
            <a:ext cx="1657441" cy="13037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A2640CED-EA72-4D83-8AE7-D539CC1950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546" y="5004053"/>
            <a:ext cx="1419225" cy="93345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C5326B2-A7ED-4B27-BC31-95FEF874C3C4}"/>
              </a:ext>
            </a:extLst>
          </p:cNvPr>
          <p:cNvSpPr txBox="1"/>
          <p:nvPr/>
        </p:nvSpPr>
        <p:spPr>
          <a:xfrm>
            <a:off x="955546" y="3847151"/>
            <a:ext cx="56738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Other boxes are square and more ‘transparent’, which outlines a </a:t>
            </a:r>
            <a:r>
              <a:rPr lang="en-GB" b="1" u="sng" dirty="0">
                <a:solidFill>
                  <a:schemeClr val="accent1"/>
                </a:solidFill>
              </a:rPr>
              <a:t>connecting action</a:t>
            </a:r>
            <a:r>
              <a:rPr lang="en-GB" b="1" dirty="0">
                <a:solidFill>
                  <a:schemeClr val="accent1"/>
                </a:solidFill>
              </a:rPr>
              <a:t>, such as an email click-through or no clickthrough</a:t>
            </a:r>
          </a:p>
        </p:txBody>
      </p:sp>
    </p:spTree>
    <p:extLst>
      <p:ext uri="{BB962C8B-B14F-4D97-AF65-F5344CB8AC3E}">
        <p14:creationId xmlns:p14="http://schemas.microsoft.com/office/powerpoint/2010/main" val="418550112"/>
      </p:ext>
    </p:extLst>
  </p:cSld>
  <p:clrMapOvr>
    <a:masterClrMapping/>
  </p:clrMapOvr>
  <p:transition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different scenarios will be colour coded by their lan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4762C7-21D2-40EA-9BD0-AAE3665BB0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4222" y="1789756"/>
            <a:ext cx="9723556" cy="457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256152"/>
      </p:ext>
    </p:extLst>
  </p:cSld>
  <p:clrMapOvr>
    <a:masterClrMapping/>
  </p:clrMapOvr>
  <p:transition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doption stage is highlighted in the top ro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7C53D0-2DB7-448C-8AFA-9B1B956EF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94837"/>
            <a:ext cx="12192000" cy="42631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575168A-FECB-4125-94B8-914594D8DD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586" b="57928"/>
          <a:stretch/>
        </p:blipFill>
        <p:spPr>
          <a:xfrm>
            <a:off x="2141399" y="1295400"/>
            <a:ext cx="6256424" cy="105727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5" name="Arrow: Down 4">
            <a:extLst>
              <a:ext uri="{FF2B5EF4-FFF2-40B4-BE49-F238E27FC236}">
                <a16:creationId xmlns:a16="http://schemas.microsoft.com/office/drawing/2014/main" id="{3964A0EE-B94C-4E65-BAE0-87BACB610B67}"/>
              </a:ext>
            </a:extLst>
          </p:cNvPr>
          <p:cNvSpPr/>
          <p:nvPr/>
        </p:nvSpPr>
        <p:spPr bwMode="auto">
          <a:xfrm>
            <a:off x="3541529" y="2476500"/>
            <a:ext cx="527417" cy="847725"/>
          </a:xfrm>
          <a:prstGeom prst="downArrow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022141-AB07-45CA-9AFE-04430557C280}"/>
              </a:ext>
            </a:extLst>
          </p:cNvPr>
          <p:cNvSpPr/>
          <p:nvPr/>
        </p:nvSpPr>
        <p:spPr bwMode="auto">
          <a:xfrm>
            <a:off x="2744770" y="1269732"/>
            <a:ext cx="1108092" cy="1206768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654902"/>
      </p:ext>
    </p:extLst>
  </p:cSld>
  <p:clrMapOvr>
    <a:masterClrMapping/>
  </p:clrMapOvr>
  <p:transition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Additional adoption stage detail is hidden in the sub-la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20063A-3BA8-440B-A3E3-C8DAB7B76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6840" y="1456553"/>
            <a:ext cx="10485160" cy="5401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00C6E9-36B6-4872-9CC6-FDF855348790}"/>
              </a:ext>
            </a:extLst>
          </p:cNvPr>
          <p:cNvSpPr txBox="1"/>
          <p:nvPr/>
        </p:nvSpPr>
        <p:spPr>
          <a:xfrm>
            <a:off x="147191" y="3504544"/>
            <a:ext cx="2141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Sub-lane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CBEF8A9D-068B-414E-BF45-6329C47A92EB}"/>
              </a:ext>
            </a:extLst>
          </p:cNvPr>
          <p:cNvSpPr/>
          <p:nvPr/>
        </p:nvSpPr>
        <p:spPr bwMode="auto">
          <a:xfrm rot="16200000">
            <a:off x="1007324" y="1831154"/>
            <a:ext cx="384048" cy="1014984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733893"/>
      </p:ext>
    </p:extLst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BE1AC-71CE-43A7-8C87-65DA87661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432" y="2527521"/>
            <a:ext cx="4781550" cy="1296987"/>
          </a:xfrm>
        </p:spPr>
        <p:txBody>
          <a:bodyPr/>
          <a:lstStyle/>
          <a:p>
            <a:r>
              <a:rPr lang="en-GB" dirty="0"/>
              <a:t>Details about each touchpoint is also hidden in sub-lan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0E86BA-60F6-42CB-82F2-FF68775FA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548" y="356660"/>
            <a:ext cx="4516297" cy="6144679"/>
          </a:xfrm>
          <a:prstGeom prst="rect">
            <a:avLst/>
          </a:prstGeom>
        </p:spPr>
      </p:pic>
      <p:sp>
        <p:nvSpPr>
          <p:cNvPr id="6" name="Arrow: Down 5">
            <a:extLst>
              <a:ext uri="{FF2B5EF4-FFF2-40B4-BE49-F238E27FC236}">
                <a16:creationId xmlns:a16="http://schemas.microsoft.com/office/drawing/2014/main" id="{E74F0B98-AD45-4DC6-B98C-203DC7A309F0}"/>
              </a:ext>
            </a:extLst>
          </p:cNvPr>
          <p:cNvSpPr/>
          <p:nvPr/>
        </p:nvSpPr>
        <p:spPr bwMode="auto">
          <a:xfrm rot="16200000">
            <a:off x="706032" y="679010"/>
            <a:ext cx="384048" cy="1014984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282091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1930B4E-309D-4A59-94DD-37775FE9B2C3}"/>
              </a:ext>
            </a:extLst>
          </p:cNvPr>
          <p:cNvSpPr txBox="1"/>
          <p:nvPr/>
        </p:nvSpPr>
        <p:spPr>
          <a:xfrm>
            <a:off x="679450" y="587375"/>
            <a:ext cx="42005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BA0410-5795-45EC-893C-8C933CAC3795}"/>
              </a:ext>
            </a:extLst>
          </p:cNvPr>
          <p:cNvSpPr txBox="1"/>
          <p:nvPr/>
        </p:nvSpPr>
        <p:spPr>
          <a:xfrm>
            <a:off x="5540367" y="537885"/>
            <a:ext cx="676498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2A6A67-3FA7-40A1-A17F-FC2F65CCC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772" y="2479459"/>
            <a:ext cx="5494115" cy="2666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DF71DE9-3A68-4EA1-8221-5A0F172EBE5A}"/>
              </a:ext>
            </a:extLst>
          </p:cNvPr>
          <p:cNvSpPr txBox="1"/>
          <p:nvPr/>
        </p:nvSpPr>
        <p:spPr>
          <a:xfrm>
            <a:off x="184288" y="1233706"/>
            <a:ext cx="55909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HCP-focused mapping of the level of product adop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5CFAFF-68AD-43DB-9B0B-B50E8CC84109}"/>
              </a:ext>
            </a:extLst>
          </p:cNvPr>
          <p:cNvSpPr txBox="1"/>
          <p:nvPr/>
        </p:nvSpPr>
        <p:spPr>
          <a:xfrm>
            <a:off x="6137414" y="1233705"/>
            <a:ext cx="55909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execution-focused mapping of the touchpoints with an HCP.</a:t>
            </a:r>
          </a:p>
        </p:txBody>
      </p:sp>
      <p:pic>
        <p:nvPicPr>
          <p:cNvPr id="17" name="Picture 16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DB6095E-0CDC-4CC6-82DD-48FE40C955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409" y="2479459"/>
            <a:ext cx="3958741" cy="253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67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Relevant Resources are linked at the bottom of the ma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8A22D2-C75E-4749-81B6-54D07B5C5D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68236"/>
            <a:ext cx="12192000" cy="483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498627"/>
      </p:ext>
    </p:extLst>
  </p:cSld>
  <p:clrMapOvr>
    <a:masterClrMapping/>
  </p:clrMapOvr>
  <p:transition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6714764-B698-4F5F-A170-2BCF0B1F5DC6}"/>
              </a:ext>
            </a:extLst>
          </p:cNvPr>
          <p:cNvSpPr txBox="1"/>
          <p:nvPr/>
        </p:nvSpPr>
        <p:spPr>
          <a:xfrm>
            <a:off x="3048000" y="5352534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 dirty="0">
                <a:hlinkClick r:id="rId2"/>
              </a:rPr>
              <a:t>https://custellence.com/app/public/43208111</a:t>
            </a:r>
            <a:endParaRPr lang="en-GB" sz="2000" dirty="0"/>
          </a:p>
        </p:txBody>
      </p:sp>
      <p:pic>
        <p:nvPicPr>
          <p:cNvPr id="6" name="Picture 5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25DE21FD-2AD0-4C6F-B02B-A46F415CB2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457" y="1637976"/>
            <a:ext cx="5269085" cy="33765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9C56123-1CF4-4F89-B7BC-8503C49E414F}"/>
              </a:ext>
            </a:extLst>
          </p:cNvPr>
          <p:cNvSpPr txBox="1"/>
          <p:nvPr/>
        </p:nvSpPr>
        <p:spPr>
          <a:xfrm>
            <a:off x="3047999" y="1099624"/>
            <a:ext cx="60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tx2"/>
                </a:solidFill>
              </a:rPr>
              <a:t>View the Template</a:t>
            </a:r>
          </a:p>
        </p:txBody>
      </p:sp>
    </p:spTree>
    <p:extLst>
      <p:ext uri="{BB962C8B-B14F-4D97-AF65-F5344CB8AC3E}">
        <p14:creationId xmlns:p14="http://schemas.microsoft.com/office/powerpoint/2010/main" val="4113431382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We are building the HCP Journeys based on a core set of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99EDEC-F115-4E7B-962B-B12E37D31DEC}"/>
              </a:ext>
            </a:extLst>
          </p:cNvPr>
          <p:cNvSpPr/>
          <p:nvPr/>
        </p:nvSpPr>
        <p:spPr>
          <a:xfrm>
            <a:off x="836921" y="2650672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E1CDB2-8228-4FAD-844C-C3ED5497B4E5}"/>
              </a:ext>
            </a:extLst>
          </p:cNvPr>
          <p:cNvSpPr/>
          <p:nvPr/>
        </p:nvSpPr>
        <p:spPr>
          <a:xfrm>
            <a:off x="836921" y="1965432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B88383-BA1B-4806-81D4-C51B87A738EA}"/>
              </a:ext>
            </a:extLst>
          </p:cNvPr>
          <p:cNvSpPr/>
          <p:nvPr/>
        </p:nvSpPr>
        <p:spPr>
          <a:xfrm>
            <a:off x="836921" y="2308052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rgbClr val="000000"/>
                </a:solidFill>
                <a:latin typeface="Tahoma"/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632460-E99F-4177-B7B0-63FDEAC2FF60}"/>
              </a:ext>
            </a:extLst>
          </p:cNvPr>
          <p:cNvSpPr/>
          <p:nvPr/>
        </p:nvSpPr>
        <p:spPr>
          <a:xfrm>
            <a:off x="836921" y="3065576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0E9B90-8482-4832-A223-ABE968F69EF4}"/>
              </a:ext>
            </a:extLst>
          </p:cNvPr>
          <p:cNvSpPr/>
          <p:nvPr/>
        </p:nvSpPr>
        <p:spPr>
          <a:xfrm>
            <a:off x="836921" y="1622812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ctical / Pragmati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2AE311-2694-4631-9357-21A55CA02DC6}"/>
              </a:ext>
            </a:extLst>
          </p:cNvPr>
          <p:cNvSpPr/>
          <p:nvPr/>
        </p:nvSpPr>
        <p:spPr>
          <a:xfrm>
            <a:off x="836921" y="3755952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ed by Insight &amp; data (try to combine where possible to see 360 view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D399D9-D8DB-49FD-85BC-9861DC6E6B8D}"/>
              </a:ext>
            </a:extLst>
          </p:cNvPr>
          <p:cNvSpPr/>
          <p:nvPr/>
        </p:nvSpPr>
        <p:spPr>
          <a:xfrm>
            <a:off x="836921" y="4443522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rious access points (into journey)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53D74E-C77E-4007-93C7-53499908015F}"/>
              </a:ext>
            </a:extLst>
          </p:cNvPr>
          <p:cNvSpPr/>
          <p:nvPr/>
        </p:nvSpPr>
        <p:spPr>
          <a:xfrm>
            <a:off x="6435113" y="1622812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rgbClr val="000000"/>
                </a:solidFill>
                <a:latin typeface="Tahoma"/>
              </a:rPr>
              <a:t>Linked to key events/mileston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0E7A-4020-435E-B272-2A8F91E4AB4B}"/>
              </a:ext>
            </a:extLst>
          </p:cNvPr>
          <p:cNvSpPr/>
          <p:nvPr/>
        </p:nvSpPr>
        <p:spPr>
          <a:xfrm>
            <a:off x="836921" y="4098572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‘Aligned to CRM/CDP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3940F4-FDE3-4EE9-BBED-931A820F52C9}"/>
              </a:ext>
            </a:extLst>
          </p:cNvPr>
          <p:cNvSpPr/>
          <p:nvPr/>
        </p:nvSpPr>
        <p:spPr>
          <a:xfrm>
            <a:off x="6435113" y="2318546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rgbClr val="000000"/>
                </a:solidFill>
                <a:latin typeface="Tahoma"/>
              </a:rPr>
              <a:t>Journeys are connected and not in isolation – Cross functional / co-ordinated appro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200B90-BC14-4605-914D-566BED184C1C}"/>
              </a:ext>
            </a:extLst>
          </p:cNvPr>
          <p:cNvSpPr/>
          <p:nvPr/>
        </p:nvSpPr>
        <p:spPr>
          <a:xfrm>
            <a:off x="836921" y="5864908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sed on fact, not feeling (where possible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EDB9EB-0687-4E30-9543-53F5282D4F84}"/>
              </a:ext>
            </a:extLst>
          </p:cNvPr>
          <p:cNvSpPr/>
          <p:nvPr/>
        </p:nvSpPr>
        <p:spPr>
          <a:xfrm>
            <a:off x="836921" y="5567372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s digital and physical touchpoint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A33630B-C344-4D38-BB19-D3405F16374D}"/>
              </a:ext>
            </a:extLst>
          </p:cNvPr>
          <p:cNvCxnSpPr>
            <a:cxnSpLocks/>
          </p:cNvCxnSpPr>
          <p:nvPr/>
        </p:nvCxnSpPr>
        <p:spPr bwMode="auto">
          <a:xfrm flipV="1">
            <a:off x="577251" y="1433903"/>
            <a:ext cx="0" cy="518673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2707E7C-177A-4AEA-A02F-64F624E948BE}"/>
              </a:ext>
            </a:extLst>
          </p:cNvPr>
          <p:cNvSpPr txBox="1"/>
          <p:nvPr/>
        </p:nvSpPr>
        <p:spPr>
          <a:xfrm>
            <a:off x="33183" y="6303131"/>
            <a:ext cx="11430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tx2"/>
                </a:solidFill>
              </a:rPr>
              <a:t>Priorit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A0EE615-0D7E-4F30-A3BE-41362A4B3E9B}"/>
              </a:ext>
            </a:extLst>
          </p:cNvPr>
          <p:cNvSpPr/>
          <p:nvPr/>
        </p:nvSpPr>
        <p:spPr>
          <a:xfrm>
            <a:off x="6435113" y="1975413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rgbClr val="000000"/>
                </a:solidFill>
                <a:latin typeface="Tahoma"/>
              </a:rPr>
              <a:t>Linked to key conferences/events</a:t>
            </a:r>
          </a:p>
        </p:txBody>
      </p:sp>
    </p:spTree>
    <p:extLst>
      <p:ext uri="{BB962C8B-B14F-4D97-AF65-F5344CB8AC3E}">
        <p14:creationId xmlns:p14="http://schemas.microsoft.com/office/powerpoint/2010/main" val="350808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C433715-4715-4CF4-8D69-2AFCA5B1772D}"/>
              </a:ext>
            </a:extLst>
          </p:cNvPr>
          <p:cNvSpPr/>
          <p:nvPr/>
        </p:nvSpPr>
        <p:spPr bwMode="auto">
          <a:xfrm>
            <a:off x="7324344" y="1962814"/>
            <a:ext cx="4867656" cy="33621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Each Journey map will be aligned to moving an HCP along one step in the Adoption Lad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423A60-6B9B-4D36-8733-9C8E05E95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24" y="1943412"/>
            <a:ext cx="6256424" cy="3357791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9797276-37AA-4357-A03B-E2029B163D81}"/>
              </a:ext>
            </a:extLst>
          </p:cNvPr>
          <p:cNvSpPr/>
          <p:nvPr/>
        </p:nvSpPr>
        <p:spPr bwMode="auto">
          <a:xfrm>
            <a:off x="1233606" y="2323861"/>
            <a:ext cx="1108092" cy="3264407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E9A6B63D-00DA-4BC5-A5D2-A4AC8DB4D0C9}"/>
              </a:ext>
            </a:extLst>
          </p:cNvPr>
          <p:cNvSpPr/>
          <p:nvPr/>
        </p:nvSpPr>
        <p:spPr bwMode="auto">
          <a:xfrm>
            <a:off x="2341698" y="5319491"/>
            <a:ext cx="606682" cy="380449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F7A903-FC89-4D62-A775-1A2CAB1A8C28}"/>
              </a:ext>
            </a:extLst>
          </p:cNvPr>
          <p:cNvSpPr txBox="1"/>
          <p:nvPr/>
        </p:nvSpPr>
        <p:spPr>
          <a:xfrm>
            <a:off x="7534656" y="2265693"/>
            <a:ext cx="390476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We will begin by using the ‘</a:t>
            </a:r>
            <a:r>
              <a:rPr lang="en-GB" sz="1600" b="1" dirty="0">
                <a:solidFill>
                  <a:schemeClr val="accent1"/>
                </a:solidFill>
              </a:rPr>
              <a:t>Marketing rule of 7</a:t>
            </a:r>
            <a:r>
              <a:rPr lang="en-GB" sz="1600" dirty="0"/>
              <a:t>’ </a:t>
            </a:r>
            <a:r>
              <a:rPr lang="en-GB" sz="1600" dirty="0">
                <a:sym typeface="Wingdings" panose="05000000000000000000" pitchFamily="2" charset="2"/>
              </a:rPr>
              <a:t> so defining 7 touchpoints required to move a HCP </a:t>
            </a:r>
            <a:r>
              <a:rPr lang="en-GB" sz="1600" b="1" dirty="0">
                <a:solidFill>
                  <a:schemeClr val="accent1"/>
                </a:solidFill>
                <a:sym typeface="Wingdings" panose="05000000000000000000" pitchFamily="2" charset="2"/>
              </a:rPr>
              <a:t>from adoption stage 1 to 2.</a:t>
            </a:r>
          </a:p>
          <a:p>
            <a:endParaRPr lang="en-GB" sz="1600" dirty="0">
              <a:sym typeface="Wingdings" panose="05000000000000000000" pitchFamily="2" charset="2"/>
            </a:endParaRPr>
          </a:p>
          <a:p>
            <a:r>
              <a:rPr lang="en-GB" sz="1600" dirty="0">
                <a:sym typeface="Wingdings" panose="05000000000000000000" pitchFamily="2" charset="2"/>
              </a:rPr>
              <a:t>Once the journeys are being executed, we will be using analytics techniques to </a:t>
            </a:r>
            <a:r>
              <a:rPr lang="en-GB" sz="1600" b="1" dirty="0">
                <a:solidFill>
                  <a:schemeClr val="accent1"/>
                </a:solidFill>
                <a:sym typeface="Wingdings" panose="05000000000000000000" pitchFamily="2" charset="2"/>
              </a:rPr>
              <a:t>adapt the journeys to better represent the reality</a:t>
            </a:r>
            <a:r>
              <a:rPr lang="en-GB" sz="1600" dirty="0">
                <a:sym typeface="Wingdings" panose="05000000000000000000" pitchFamily="2" charset="2"/>
              </a:rPr>
              <a:t> of how many touchpoints it takes (and what channels work better).</a:t>
            </a:r>
            <a:endParaRPr lang="en-GB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662681-4372-4B96-B532-3F6D6E166CDC}"/>
              </a:ext>
            </a:extLst>
          </p:cNvPr>
          <p:cNvSpPr txBox="1"/>
          <p:nvPr/>
        </p:nvSpPr>
        <p:spPr>
          <a:xfrm>
            <a:off x="1280160" y="5337779"/>
            <a:ext cx="103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7 touchpoints</a:t>
            </a:r>
          </a:p>
        </p:txBody>
      </p:sp>
    </p:spTree>
    <p:extLst>
      <p:ext uri="{BB962C8B-B14F-4D97-AF65-F5344CB8AC3E}">
        <p14:creationId xmlns:p14="http://schemas.microsoft.com/office/powerpoint/2010/main" val="42527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DBA3697-50A2-4A62-9376-1299CB8DC0E0}"/>
              </a:ext>
            </a:extLst>
          </p:cNvPr>
          <p:cNvSpPr/>
          <p:nvPr/>
        </p:nvSpPr>
        <p:spPr bwMode="auto">
          <a:xfrm>
            <a:off x="0" y="1875825"/>
            <a:ext cx="12192000" cy="40681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We will be leveraging the core Galapagos channels, and brand conten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505B6D-E2FB-4DC0-B53F-E102D15A42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5" y="2703375"/>
            <a:ext cx="6293459" cy="270682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0" name="Picture 9">
            <a:hlinkClick r:id="rId3"/>
            <a:extLst>
              <a:ext uri="{FF2B5EF4-FFF2-40B4-BE49-F238E27FC236}">
                <a16:creationId xmlns:a16="http://schemas.microsoft.com/office/drawing/2014/main" id="{AFA7569C-C39F-437E-B2C9-4BA9F39664D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0836"/>
          <a:stretch/>
        </p:blipFill>
        <p:spPr>
          <a:xfrm>
            <a:off x="6386589" y="2703375"/>
            <a:ext cx="5748261" cy="270682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8D259F-E2B5-4AC3-B269-20797A20E393}"/>
              </a:ext>
            </a:extLst>
          </p:cNvPr>
          <p:cNvSpPr txBox="1"/>
          <p:nvPr/>
        </p:nvSpPr>
        <p:spPr>
          <a:xfrm>
            <a:off x="876300" y="2228850"/>
            <a:ext cx="4791075" cy="371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accent1"/>
                </a:solidFill>
              </a:rPr>
              <a:t>Core Channel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D9434B-0E73-4056-AC63-04BEA55C2103}"/>
              </a:ext>
            </a:extLst>
          </p:cNvPr>
          <p:cNvSpPr txBox="1"/>
          <p:nvPr/>
        </p:nvSpPr>
        <p:spPr>
          <a:xfrm>
            <a:off x="6943725" y="2247900"/>
            <a:ext cx="4791075" cy="371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accent1"/>
                </a:solidFill>
              </a:rPr>
              <a:t>Existing &amp; Planned Content</a:t>
            </a:r>
          </a:p>
        </p:txBody>
      </p:sp>
    </p:spTree>
    <p:extLst>
      <p:ext uri="{BB962C8B-B14F-4D97-AF65-F5344CB8AC3E}">
        <p14:creationId xmlns:p14="http://schemas.microsoft.com/office/powerpoint/2010/main" val="376816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We have explored a variety of tools to design the journeys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2328FEC1-5F83-4928-BA52-BC8606653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613" y="1270068"/>
            <a:ext cx="2131410" cy="904235"/>
          </a:xfrm>
          <a:prstGeom prst="rect">
            <a:avLst/>
          </a:prstGeom>
        </p:spPr>
      </p:pic>
      <p:pic>
        <p:nvPicPr>
          <p:cNvPr id="9" name="Picture 8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CC8AF076-0487-4827-B699-62A17B0F0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16" y="1513392"/>
            <a:ext cx="2590554" cy="481013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44150B8F-49F8-4A75-ACE4-0139266FDF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11" b="29472"/>
          <a:stretch/>
        </p:blipFill>
        <p:spPr>
          <a:xfrm>
            <a:off x="9017413" y="1466849"/>
            <a:ext cx="2717388" cy="575181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D8652F0-08E2-40C8-BCC7-D0D462A06A40}"/>
              </a:ext>
            </a:extLst>
          </p:cNvPr>
          <p:cNvGraphicFramePr>
            <a:graphicFrameLocks noGrp="1"/>
          </p:cNvGraphicFramePr>
          <p:nvPr/>
        </p:nvGraphicFramePr>
        <p:xfrm>
          <a:off x="276225" y="2174302"/>
          <a:ext cx="11487151" cy="3747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43307">
                  <a:extLst>
                    <a:ext uri="{9D8B030D-6E8A-4147-A177-3AD203B41FA5}">
                      <a16:colId xmlns:a16="http://schemas.microsoft.com/office/drawing/2014/main" val="3191271448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3749805036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305512919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708123540"/>
                    </a:ext>
                  </a:extLst>
                </a:gridCol>
              </a:tblGrid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Basic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95368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Structural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608063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earning Curv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22089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ive Collabor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171345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lexi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918572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Read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78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ull map visualis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2795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Guided Journey Cre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05971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marL="0" marR="0" lvl="0" indent="0" algn="r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532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9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203167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10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02AF15-6837-44AA-BC76-3C2B5E68696D}"/>
              </a:ext>
            </a:extLst>
          </p:cNvPr>
          <p:cNvSpPr txBox="1"/>
          <p:nvPr/>
        </p:nvSpPr>
        <p:spPr>
          <a:xfrm>
            <a:off x="6096000" y="2842771"/>
            <a:ext cx="54440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ustellence is a simple, </a:t>
            </a:r>
            <a:r>
              <a:rPr lang="en-GB" b="1" dirty="0">
                <a:solidFill>
                  <a:schemeClr val="tx2"/>
                </a:solidFill>
              </a:rPr>
              <a:t>1-page journey creation tool</a:t>
            </a:r>
            <a:r>
              <a:rPr lang="en-GB" dirty="0"/>
              <a:t>, with collaboration functionality.</a:t>
            </a:r>
          </a:p>
          <a:p>
            <a:endParaRPr lang="en-GB" dirty="0"/>
          </a:p>
          <a:p>
            <a:r>
              <a:rPr lang="en-GB" dirty="0"/>
              <a:t>We are using Custellence </a:t>
            </a:r>
            <a:r>
              <a:rPr lang="en-GB" b="1" dirty="0">
                <a:solidFill>
                  <a:schemeClr val="tx2"/>
                </a:solidFill>
              </a:rPr>
              <a:t>solely to help guide the creation of HCP Journeys</a:t>
            </a:r>
            <a:r>
              <a:rPr lang="en-GB" dirty="0"/>
              <a:t>, not for use in the orchestration or execution of journeys.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tool is arranged in ‘lanes’, with bo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6D0374-90BA-434E-9BDB-F8B8030E5B05}"/>
              </a:ext>
            </a:extLst>
          </p:cNvPr>
          <p:cNvSpPr txBox="1"/>
          <p:nvPr/>
        </p:nvSpPr>
        <p:spPr>
          <a:xfrm>
            <a:off x="1314332" y="1405070"/>
            <a:ext cx="26822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accent1"/>
                </a:solidFill>
              </a:rPr>
              <a:t>Boxes can be different siz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2206BB-4303-4CB2-99FD-D597365C85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92118"/>
            <a:ext cx="12192000" cy="40566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708271-59E1-463A-8F7A-AD20C89A4908}"/>
              </a:ext>
            </a:extLst>
          </p:cNvPr>
          <p:cNvSpPr txBox="1"/>
          <p:nvPr/>
        </p:nvSpPr>
        <p:spPr>
          <a:xfrm>
            <a:off x="7041298" y="1371758"/>
            <a:ext cx="29504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accent1"/>
                </a:solidFill>
              </a:rPr>
              <a:t>Different types of boxes can be added to the lan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BB27B4D-D854-4562-AE7F-22A233647293}"/>
              </a:ext>
            </a:extLst>
          </p:cNvPr>
          <p:cNvSpPr/>
          <p:nvPr/>
        </p:nvSpPr>
        <p:spPr bwMode="auto">
          <a:xfrm rot="5024821">
            <a:off x="2284174" y="2277009"/>
            <a:ext cx="882501" cy="30691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9704D9E1-8B76-42B4-AAFA-8AF3DCEE2FD8}"/>
              </a:ext>
            </a:extLst>
          </p:cNvPr>
          <p:cNvSpPr/>
          <p:nvPr/>
        </p:nvSpPr>
        <p:spPr bwMode="auto">
          <a:xfrm rot="6175214">
            <a:off x="6535845" y="3275544"/>
            <a:ext cx="2544725" cy="30691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A91016-D3C9-4DB0-B6A7-640DCDDC45E8}"/>
              </a:ext>
            </a:extLst>
          </p:cNvPr>
          <p:cNvSpPr txBox="1"/>
          <p:nvPr/>
        </p:nvSpPr>
        <p:spPr>
          <a:xfrm>
            <a:off x="4049799" y="1407543"/>
            <a:ext cx="2950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accent1"/>
                </a:solidFill>
              </a:rPr>
              <a:t>Boxes can be assigned different ‘statuses’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57A145EE-C08D-441A-B3E3-02BC9C0143AC}"/>
              </a:ext>
            </a:extLst>
          </p:cNvPr>
          <p:cNvSpPr/>
          <p:nvPr/>
        </p:nvSpPr>
        <p:spPr bwMode="auto">
          <a:xfrm rot="6011494">
            <a:off x="4516955" y="2810777"/>
            <a:ext cx="1590174" cy="30691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224420"/>
      </p:ext>
    </p:extLst>
  </p:cSld>
  <p:clrMapOvr>
    <a:masterClrMapping/>
  </p:clrMapOvr>
  <p:transition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‘Sub-lanes’ can be hidden within a la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890C9B-7CB1-4051-93C6-5313CB76E4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875" y="3429000"/>
            <a:ext cx="7541582" cy="30311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6F496B-A08A-4845-BD88-6A04E33A6F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740"/>
          <a:stretch/>
        </p:blipFill>
        <p:spPr>
          <a:xfrm>
            <a:off x="2047875" y="1182443"/>
            <a:ext cx="7541582" cy="2114347"/>
          </a:xfrm>
          <a:prstGeom prst="rect">
            <a:avLst/>
          </a:prstGeom>
        </p:spPr>
      </p:pic>
      <p:sp>
        <p:nvSpPr>
          <p:cNvPr id="7" name="Left Bracket 6">
            <a:extLst>
              <a:ext uri="{FF2B5EF4-FFF2-40B4-BE49-F238E27FC236}">
                <a16:creationId xmlns:a16="http://schemas.microsoft.com/office/drawing/2014/main" id="{FE4BFB32-3E5E-4607-89CB-1E8A171EF55B}"/>
              </a:ext>
            </a:extLst>
          </p:cNvPr>
          <p:cNvSpPr/>
          <p:nvPr/>
        </p:nvSpPr>
        <p:spPr bwMode="auto">
          <a:xfrm>
            <a:off x="1810512" y="3813048"/>
            <a:ext cx="155067" cy="1536192"/>
          </a:xfrm>
          <a:prstGeom prst="leftBracke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5816ED-716F-4F43-85F4-B7EB6BD76E19}"/>
              </a:ext>
            </a:extLst>
          </p:cNvPr>
          <p:cNvSpPr txBox="1"/>
          <p:nvPr/>
        </p:nvSpPr>
        <p:spPr>
          <a:xfrm>
            <a:off x="484251" y="4369007"/>
            <a:ext cx="15636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Additional Lane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0ACB7D3-49F2-4231-9CC1-38DF1E4B5CB5}"/>
              </a:ext>
            </a:extLst>
          </p:cNvPr>
          <p:cNvCxnSpPr/>
          <p:nvPr/>
        </p:nvCxnSpPr>
        <p:spPr bwMode="auto">
          <a:xfrm>
            <a:off x="1888045" y="1865376"/>
            <a:ext cx="0" cy="28346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514930944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0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741AF0-68B8-4FE8-92DF-CB028FD4BC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C1B1D6-A438-4791-B2DD-8DFE8685E2AD}">
  <ds:schemaRefs>
    <ds:schemaRef ds:uri="http://purl.org/dc/dcmitype/"/>
    <ds:schemaRef ds:uri="http://www.w3.org/XML/1998/namespace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ad0e857-dec6-4b1e-afd3-48dbfac7dd48"/>
    <ds:schemaRef ds:uri="0d8c423f-ad67-45a2-8b05-97a43a5b7821"/>
  </ds:schemaRefs>
</ds:datastoreItem>
</file>

<file path=customXml/itemProps3.xml><?xml version="1.0" encoding="utf-8"?>
<ds:datastoreItem xmlns:ds="http://schemas.openxmlformats.org/officeDocument/2006/customXml" ds:itemID="{6E5545D2-19D3-4F98-A559-98FD72FAB8E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</TotalTime>
  <Words>645</Words>
  <Application>Microsoft Office PowerPoint</Application>
  <PresentationFormat>Widescreen</PresentationFormat>
  <Paragraphs>87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10_Galapagos_template_Basic</vt:lpstr>
      <vt:lpstr>9_Galapagos_template_Basic</vt:lpstr>
      <vt:lpstr>1_Galapagos_template_Basic</vt:lpstr>
      <vt:lpstr>think-cell Slide</vt:lpstr>
      <vt:lpstr>PowerPoint Presentation</vt:lpstr>
      <vt:lpstr>PowerPoint Presentation</vt:lpstr>
      <vt:lpstr>We are building the HCP Journeys based on a core set of Principles</vt:lpstr>
      <vt:lpstr>Each Journey map will be aligned to moving an HCP along one step in the Adoption Ladder</vt:lpstr>
      <vt:lpstr>We will be leveraging the core Galapagos channels, and brand content.</vt:lpstr>
      <vt:lpstr>We have explored a variety of tools to design the journeys</vt:lpstr>
      <vt:lpstr>Custellence</vt:lpstr>
      <vt:lpstr>The tool is arranged in ‘lanes’, with boxes</vt:lpstr>
      <vt:lpstr>‘Sub-lanes’ can be hidden within a lane</vt:lpstr>
      <vt:lpstr>HCP Journey Components</vt:lpstr>
      <vt:lpstr>HCP Journey Scenarios</vt:lpstr>
      <vt:lpstr>The HCP Journey Design</vt:lpstr>
      <vt:lpstr>Journeys Overview</vt:lpstr>
      <vt:lpstr>The Journey Map Template</vt:lpstr>
      <vt:lpstr>We have defined different box types</vt:lpstr>
      <vt:lpstr>The different scenarios will be colour coded by their lanes</vt:lpstr>
      <vt:lpstr>The Adoption stage is highlighted in the top row</vt:lpstr>
      <vt:lpstr>Additional adoption stage detail is hidden in the sub-lanes</vt:lpstr>
      <vt:lpstr>Details about each touchpoint is also hidden in sub-lanes</vt:lpstr>
      <vt:lpstr>Relevant Resources are linked at the bottom of the ma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Gareth Allott</cp:lastModifiedBy>
  <cp:revision>1</cp:revision>
  <dcterms:created xsi:type="dcterms:W3CDTF">2021-04-08T09:15:56Z</dcterms:created>
  <dcterms:modified xsi:type="dcterms:W3CDTF">2021-04-29T10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